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803" r:id="rId1"/>
    <p:sldMasterId id="2147483812" r:id="rId2"/>
    <p:sldMasterId id="2147483821" r:id="rId3"/>
    <p:sldMasterId id="2147483830" r:id="rId4"/>
    <p:sldMasterId id="2147483844" r:id="rId5"/>
    <p:sldMasterId id="2147483794" r:id="rId6"/>
  </p:sldMasterIdLst>
  <p:notesMasterIdLst>
    <p:notesMasterId r:id="rId19"/>
  </p:notesMasterIdLst>
  <p:handoutMasterIdLst>
    <p:handoutMasterId r:id="rId20"/>
  </p:handoutMasterIdLst>
  <p:sldIdLst>
    <p:sldId id="395" r:id="rId7"/>
    <p:sldId id="256" r:id="rId8"/>
    <p:sldId id="257" r:id="rId9"/>
    <p:sldId id="258" r:id="rId10"/>
    <p:sldId id="259" r:id="rId11"/>
    <p:sldId id="260" r:id="rId12"/>
    <p:sldId id="261" r:id="rId13"/>
    <p:sldId id="262" r:id="rId14"/>
    <p:sldId id="263" r:id="rId15"/>
    <p:sldId id="264" r:id="rId16"/>
    <p:sldId id="265" r:id="rId17"/>
    <p:sldId id="408" r:id="rId18"/>
  </p:sldIdLst>
  <p:sldSz cx="7559675" cy="10691813"/>
  <p:notesSz cx="6858000" cy="9144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Montserrat" panose="00000500000000000000" pitchFamily="2" charset="0"/>
      <p:regular r:id="rId25"/>
      <p:bold r:id="rId26"/>
      <p:italic r:id="rId27"/>
      <p:boldItalic r:id="rId28"/>
    </p:embeddedFont>
    <p:embeddedFont>
      <p:font typeface="Montserrat ExtraLight" panose="00000300000000000000" pitchFamily="2" charset="0"/>
      <p:regular r:id="rId29"/>
      <p:italic r:id="rId30"/>
    </p:embeddedFont>
  </p:embeddedFontLst>
  <p:custDataLst>
    <p:tags r:id="rId3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5" d="100"/>
          <a:sy n="55" d="100"/>
        </p:scale>
        <p:origin x="254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29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6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1.fntdata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5.fntdata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font" Target="fonts/font4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184222222222224E-2"/>
          <c:y val="4.1157407407407406E-2"/>
          <c:w val="0.91477133333333338"/>
          <c:h val="0.693454629629629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23-48DF-B9A0-20EC4F97488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23-48DF-B9A0-20EC4F9748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0760175"/>
        <c:axId val="1580295583"/>
      </c:barChart>
      <c:lineChart>
        <c:grouping val="standard"/>
        <c:varyColors val="0"/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5">
                  <a:alpha val="99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723-48DF-B9A0-20EC4F9748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0760175"/>
        <c:axId val="1580295583"/>
      </c:lineChart>
      <c:catAx>
        <c:axId val="1580760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295583"/>
        <c:crosses val="autoZero"/>
        <c:auto val="1"/>
        <c:lblAlgn val="ctr"/>
        <c:lblOffset val="100"/>
        <c:noMultiLvlLbl val="0"/>
      </c:catAx>
      <c:valAx>
        <c:axId val="158029558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0760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429537037037042"/>
          <c:w val="1"/>
          <c:h val="0.124885147742552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2"/>
          </a:solidFill>
        </a:defRPr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561405228758173"/>
          <c:y val="9.4192386831275718E-3"/>
          <c:w val="0.73438594771241827"/>
          <c:h val="0.98989814814814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DC41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EDA-4AD6-9D29-F19624CF2B57}"/>
              </c:ext>
            </c:extLst>
          </c:dPt>
          <c:dPt>
            <c:idx val="1"/>
            <c:invertIfNegative val="0"/>
            <c:bubble3D val="0"/>
            <c:spPr>
              <a:solidFill>
                <a:srgbClr val="F07E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EDA-4AD6-9D29-F19624CF2B57}"/>
              </c:ext>
            </c:extLst>
          </c:dPt>
          <c:dPt>
            <c:idx val="2"/>
            <c:invertIfNegative val="0"/>
            <c:bubble3D val="0"/>
            <c:spPr>
              <a:solidFill>
                <a:srgbClr val="E6332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EDA-4AD6-9D29-F19624CF2B57}"/>
              </c:ext>
            </c:extLst>
          </c:dPt>
          <c:dPt>
            <c:idx val="3"/>
            <c:invertIfNegative val="0"/>
            <c:bubble3D val="0"/>
            <c:spPr>
              <a:solidFill>
                <a:srgbClr val="EA516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EDA-4AD6-9D29-F19624CF2B5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EDA-4AD6-9D29-F19624CF2B57}"/>
              </c:ext>
            </c:extLst>
          </c:dPt>
          <c:dPt>
            <c:idx val="5"/>
            <c:invertIfNegative val="0"/>
            <c:bubble3D val="0"/>
            <c:spPr>
              <a:solidFill>
                <a:srgbClr val="C70E6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EDA-4AD6-9D29-F19624CF2B57}"/>
              </c:ext>
            </c:extLst>
          </c:dPt>
          <c:dPt>
            <c:idx val="6"/>
            <c:invertIfNegative val="0"/>
            <c:bubble3D val="0"/>
            <c:spPr>
              <a:solidFill>
                <a:srgbClr val="9E61A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EDA-4AD6-9D29-F19624CF2B5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EDA-4AD6-9D29-F19624CF2B5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BEDA-4AD6-9D29-F19624CF2B5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BEDA-4AD6-9D29-F19624CF2B57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BEDA-4AD6-9D29-F19624CF2B5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D75B1E2D-E675-E74C-9EEA-FE320FE88A92}" type="VALUE">
                      <a:rPr lang="en-US" sz="800" b="1" i="0">
                        <a:solidFill>
                          <a:schemeClr val="bg2"/>
                        </a:solidFill>
                        <a:latin typeface="+mj-lt"/>
                        <a:cs typeface="Arial" panose="020B060402020202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EDA-4AD6-9D29-F19624CF2B5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9154BB5-8465-5F4E-82AF-64B86FF94310}" type="VALUE">
                      <a:rPr lang="en-US" sz="800" b="1" i="0">
                        <a:solidFill>
                          <a:schemeClr val="bg2"/>
                        </a:solidFill>
                        <a:latin typeface="+mj-lt"/>
                        <a:cs typeface="Arial" panose="020B060402020202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EDA-4AD6-9D29-F19624CF2B5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1D76243-C35D-DE42-AC50-6C897FF65594}" type="VALUE">
                      <a:rPr lang="en-US" sz="800" b="1" i="0">
                        <a:solidFill>
                          <a:schemeClr val="bg2"/>
                        </a:solidFill>
                        <a:latin typeface="+mj-lt"/>
                        <a:cs typeface="Arial" panose="020B060402020202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EDA-4AD6-9D29-F19624CF2B5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A85B4BA-13B1-714A-94F7-2973F546C554}" type="VALUE">
                      <a:rPr lang="en-US" sz="800" b="1" i="0">
                        <a:solidFill>
                          <a:schemeClr val="bg2"/>
                        </a:solidFill>
                        <a:latin typeface="+mj-lt"/>
                        <a:cs typeface="Arial" panose="020B0604020202020204" pitchFamily="34" charset="0"/>
                      </a:rPr>
                      <a:pPr/>
                      <a:t>[VALEUR]</a:t>
                    </a:fld>
                    <a:endParaRPr lang="fr-FR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BEDA-4AD6-9D29-F19624CF2B5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b="1" i="0" dirty="0">
                        <a:solidFill>
                          <a:schemeClr val="bg1"/>
                        </a:solidFill>
                        <a:latin typeface="Montserrat" pitchFamily="2" charset="0"/>
                      </a:rPr>
                      <a:t>12 45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BEDA-4AD6-9D29-F19624CF2B5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800" b="1" i="0" dirty="0">
                        <a:solidFill>
                          <a:schemeClr val="bg2"/>
                        </a:solidFill>
                        <a:latin typeface="+mj-lt"/>
                        <a:cs typeface="Arial" panose="020B0604020202020204" pitchFamily="34" charset="0"/>
                      </a:rPr>
                      <a:t>32 01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BEDA-4AD6-9D29-F19624CF2B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Lorem Ipsum a</c:v>
                </c:pt>
                <c:pt idx="1">
                  <c:v>Lorem Ipsum ab</c:v>
                </c:pt>
                <c:pt idx="2">
                  <c:v>Lorem Ipsum abc</c:v>
                </c:pt>
                <c:pt idx="3">
                  <c:v>Lorem Ipsum abcd</c:v>
                </c:pt>
                <c:pt idx="4">
                  <c:v>Lorem Ipsum abcde</c:v>
                </c:pt>
                <c:pt idx="5">
                  <c:v>Lorem Ipsum abcedf</c:v>
                </c:pt>
                <c:pt idx="6">
                  <c:v>Lorem Ipsum abcdefg</c:v>
                </c:pt>
                <c:pt idx="7">
                  <c:v>Lorem Ipsum abcdefgh</c:v>
                </c:pt>
                <c:pt idx="8">
                  <c:v>Lorem Ipsum abcdefghi</c:v>
                </c:pt>
                <c:pt idx="9">
                  <c:v>Lorem Ipsum abcdefghij</c:v>
                </c:pt>
                <c:pt idx="10">
                  <c:v>Lorem Ipsum abcdefghijk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290</c:v>
                </c:pt>
                <c:pt idx="1">
                  <c:v>1950</c:v>
                </c:pt>
                <c:pt idx="2">
                  <c:v>3250</c:v>
                </c:pt>
                <c:pt idx="3">
                  <c:v>5350</c:v>
                </c:pt>
                <c:pt idx="4">
                  <c:v>6000</c:v>
                </c:pt>
                <c:pt idx="5">
                  <c:v>7000</c:v>
                </c:pt>
                <c:pt idx="6">
                  <c:v>8000</c:v>
                </c:pt>
                <c:pt idx="7">
                  <c:v>9000</c:v>
                </c:pt>
                <c:pt idx="8">
                  <c:v>10000</c:v>
                </c:pt>
                <c:pt idx="9">
                  <c:v>12450</c:v>
                </c:pt>
                <c:pt idx="10">
                  <c:v>32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BEDA-4AD6-9D29-F19624CF2B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3"/>
        <c:axId val="1284708728"/>
        <c:axId val="1284709712"/>
      </c:barChart>
      <c:catAx>
        <c:axId val="1284708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84709712"/>
        <c:crosses val="autoZero"/>
        <c:auto val="1"/>
        <c:lblAlgn val="l"/>
        <c:lblOffset val="100"/>
        <c:noMultiLvlLbl val="0"/>
      </c:catAx>
      <c:valAx>
        <c:axId val="1284709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84708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/>
      </a:pPr>
      <a:endParaRPr lang="fr-F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053116762076605E-2"/>
          <c:y val="3.2664609053497939E-2"/>
          <c:w val="0.32197788687748879"/>
          <c:h val="0.9322608024691356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2700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chemeClr val="tx2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CFE-403D-A85B-2D541A246FF1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CFE-403D-A85B-2D541A246FF1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CFE-403D-A85B-2D541A246FF1}"/>
              </c:ext>
            </c:extLst>
          </c:dPt>
          <c:dPt>
            <c:idx val="3"/>
            <c:bubble3D val="0"/>
            <c:spPr>
              <a:solidFill>
                <a:srgbClr val="9E61A4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CFE-403D-A85B-2D541A246FF1}"/>
              </c:ext>
            </c:extLst>
          </c:dPt>
          <c:dPt>
            <c:idx val="4"/>
            <c:bubble3D val="0"/>
            <c:spPr>
              <a:solidFill>
                <a:srgbClr val="C70E6B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CFE-403D-A85B-2D541A246FF1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CFE-403D-A85B-2D541A246FF1}"/>
              </c:ext>
            </c:extLst>
          </c:dPt>
          <c:dPt>
            <c:idx val="6"/>
            <c:bubble3D val="0"/>
            <c:spPr>
              <a:solidFill>
                <a:srgbClr val="EA516D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CFE-403D-A85B-2D541A246FF1}"/>
              </c:ext>
            </c:extLst>
          </c:dPt>
          <c:dPt>
            <c:idx val="7"/>
            <c:bubble3D val="0"/>
            <c:spPr>
              <a:solidFill>
                <a:srgbClr val="E6332A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CFE-403D-A85B-2D541A246FF1}"/>
              </c:ext>
            </c:extLst>
          </c:dPt>
          <c:dPt>
            <c:idx val="8"/>
            <c:bubble3D val="0"/>
            <c:spPr>
              <a:solidFill>
                <a:srgbClr val="DA8C0C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CFE-403D-A85B-2D541A246FF1}"/>
              </c:ext>
            </c:extLst>
          </c:dPt>
          <c:dPt>
            <c:idx val="9"/>
            <c:bubble3D val="0"/>
            <c:spPr>
              <a:solidFill>
                <a:srgbClr val="FDC41F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CFE-403D-A85B-2D541A246FF1}"/>
              </c:ext>
            </c:extLst>
          </c:dPt>
          <c:dPt>
            <c:idx val="10"/>
            <c:bubble3D val="0"/>
            <c:spPr>
              <a:solidFill>
                <a:srgbClr val="94C356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CCFE-403D-A85B-2D541A246FF1}"/>
              </c:ext>
            </c:extLst>
          </c:dPt>
          <c:dPt>
            <c:idx val="11"/>
            <c:bubble3D val="0"/>
            <c:spPr>
              <a:solidFill>
                <a:srgbClr val="00A870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CCFE-403D-A85B-2D541A246FF1}"/>
              </c:ext>
            </c:extLst>
          </c:dPt>
          <c:dPt>
            <c:idx val="12"/>
            <c:bubble3D val="0"/>
            <c:spPr>
              <a:solidFill>
                <a:schemeClr val="bg2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CCFE-403D-A85B-2D541A246FF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FFFFFF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  <c:pt idx="6">
                  <c:v>Lorem ipsum</c:v>
                </c:pt>
                <c:pt idx="7">
                  <c:v>Lorem ipsum</c:v>
                </c:pt>
                <c:pt idx="8">
                  <c:v>Lorem ipsum</c:v>
                </c:pt>
                <c:pt idx="9">
                  <c:v>Lorem ipsum</c:v>
                </c:pt>
                <c:pt idx="10">
                  <c:v>Lorem ipsum</c:v>
                </c:pt>
                <c:pt idx="11">
                  <c:v>Lorem ipsum</c:v>
                </c:pt>
                <c:pt idx="12">
                  <c:v>Lorem ipsum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1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3</c:v>
                </c:pt>
                <c:pt idx="5">
                  <c:v>0.1</c:v>
                </c:pt>
                <c:pt idx="6">
                  <c:v>0.05</c:v>
                </c:pt>
                <c:pt idx="7">
                  <c:v>0.05</c:v>
                </c:pt>
                <c:pt idx="8">
                  <c:v>0.3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CCFE-403D-A85B-2D541A246F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9365056974140004"/>
          <c:y val="4.0524691358024702E-2"/>
          <c:w val="0.49281165400002203"/>
          <c:h val="0.918950617283950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0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5A751B5-F9E0-35A5-44C6-F59201E5A9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198001-4CD1-CC41-DFA9-39F5E2FF584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3B2D12-D94D-4071-960E-E3BC187C5194}" type="datetime2">
              <a:rPr lang="fr-FR" smtClean="0"/>
              <a:t>vendredi 19 janvier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EE7F76-A6CA-B203-BFC4-B7C1BF0552C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707A8C-0C0E-8A24-3DD6-DAA7AA730AB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69E204-EA33-4094-B82E-B0E9B096D54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8725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ontserrat" pitchFamily="2" charset="0"/>
              </a:defRPr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ontserrat" pitchFamily="2" charset="0"/>
              </a:defRPr>
            </a:lvl1pPr>
          </a:lstStyle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ontserrat" pitchFamily="2" charset="0"/>
              </a:defRPr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ontserrat" pitchFamily="2" charset="0"/>
              </a:defRPr>
            </a:lvl1pPr>
          </a:lstStyle>
          <a:p>
            <a:fld id="{FC92AD94-E9DA-4A9E-B8D2-7308787D7518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51393678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Montserrat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Montserrat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Montserrat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Montserrat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Montserrat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111063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94256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2312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3094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94230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34543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0553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8652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13189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E338C98-DB5C-4182-8AE5-2B50FFA22090}" type="datetime2">
              <a:rPr lang="fr-FR" smtClean="0"/>
              <a:t>vendredi 19 janvier 2024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2AD94-E9DA-4A9E-B8D2-7308787D7518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6727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sv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1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sv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5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5.svg"/><Relationship Id="rId7" Type="http://schemas.openxmlformats.org/officeDocument/2006/relationships/image" Target="../media/image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.png"/><Relationship Id="rId11" Type="http://schemas.openxmlformats.org/officeDocument/2006/relationships/image" Target="../media/image20.svg"/><Relationship Id="rId5" Type="http://schemas.openxmlformats.org/officeDocument/2006/relationships/image" Target="../media/image17.svg"/><Relationship Id="rId10" Type="http://schemas.openxmlformats.org/officeDocument/2006/relationships/image" Target="../media/image6.png"/><Relationship Id="rId4" Type="http://schemas.openxmlformats.org/officeDocument/2006/relationships/image" Target="../media/image16.png"/><Relationship Id="rId9" Type="http://schemas.openxmlformats.org/officeDocument/2006/relationships/image" Target="../media/image19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5.svg"/><Relationship Id="rId7" Type="http://schemas.openxmlformats.org/officeDocument/2006/relationships/image" Target="../media/image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.png"/><Relationship Id="rId11" Type="http://schemas.openxmlformats.org/officeDocument/2006/relationships/image" Target="../media/image20.svg"/><Relationship Id="rId5" Type="http://schemas.openxmlformats.org/officeDocument/2006/relationships/image" Target="../media/image17.svg"/><Relationship Id="rId10" Type="http://schemas.openxmlformats.org/officeDocument/2006/relationships/image" Target="../media/image6.png"/><Relationship Id="rId4" Type="http://schemas.openxmlformats.org/officeDocument/2006/relationships/image" Target="../media/image16.png"/><Relationship Id="rId9" Type="http://schemas.openxmlformats.org/officeDocument/2006/relationships/image" Target="../media/image19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E9C44FBD-FDAE-9CD2-769D-CD3DB2884F90}"/>
              </a:ext>
            </a:extLst>
          </p:cNvPr>
          <p:cNvSpPr/>
          <p:nvPr userDrawn="1"/>
        </p:nvSpPr>
        <p:spPr>
          <a:xfrm>
            <a:off x="0" y="3994806"/>
            <a:ext cx="7559675" cy="2696400"/>
          </a:xfrm>
          <a:custGeom>
            <a:avLst/>
            <a:gdLst>
              <a:gd name="connsiteX0" fmla="*/ 0 w 7559675"/>
              <a:gd name="connsiteY0" fmla="*/ 0 h 2696400"/>
              <a:gd name="connsiteX1" fmla="*/ 7559675 w 7559675"/>
              <a:gd name="connsiteY1" fmla="*/ 0 h 2696400"/>
              <a:gd name="connsiteX2" fmla="*/ 7559675 w 7559675"/>
              <a:gd name="connsiteY2" fmla="*/ 2696400 h 2696400"/>
              <a:gd name="connsiteX3" fmla="*/ 0 w 7559675"/>
              <a:gd name="connsiteY3" fmla="*/ 2696400 h 269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59675" h="2696400">
                <a:moveTo>
                  <a:pt x="0" y="0"/>
                </a:moveTo>
                <a:lnTo>
                  <a:pt x="7559675" y="0"/>
                </a:lnTo>
                <a:lnTo>
                  <a:pt x="7559675" y="2696400"/>
                </a:lnTo>
                <a:lnTo>
                  <a:pt x="0" y="26964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fr-FR" b="1" noProof="0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BD1D991-C33B-02E4-5159-5E68FD4582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8492" y="696703"/>
            <a:ext cx="1404892" cy="1159282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8984D929-9664-7D07-FF93-1EA504AD20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10355" y="0"/>
            <a:ext cx="1148307" cy="185598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BD0813-0BF3-A68B-13D0-BCED9931A88B}"/>
              </a:ext>
            </a:extLst>
          </p:cNvPr>
          <p:cNvCxnSpPr>
            <a:cxnSpLocks/>
          </p:cNvCxnSpPr>
          <p:nvPr userDrawn="1"/>
        </p:nvCxnSpPr>
        <p:spPr>
          <a:xfrm>
            <a:off x="2288492" y="10313813"/>
            <a:ext cx="388269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4400DDD1-CFCA-372A-AA2F-67B840596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23369"/>
          <a:stretch/>
        </p:blipFill>
        <p:spPr>
          <a:xfrm>
            <a:off x="2996454" y="8393047"/>
            <a:ext cx="4563222" cy="873960"/>
          </a:xfrm>
          <a:prstGeom prst="rect">
            <a:avLst/>
          </a:prstGeom>
        </p:spPr>
      </p:pic>
      <p:sp>
        <p:nvSpPr>
          <p:cNvPr id="18" name="Title 16">
            <a:extLst>
              <a:ext uri="{FF2B5EF4-FFF2-40B4-BE49-F238E27FC236}">
                <a16:creationId xmlns:a16="http://schemas.microsoft.com/office/drawing/2014/main" id="{5550E27D-73CF-08F8-D8CF-04DA1F03409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68492" y="4789009"/>
            <a:ext cx="6222690" cy="11079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fr-FR" noProof="0" dirty="0"/>
              <a:t>Ceci est le nom de la présentatio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B86E535-0F9E-E25F-1B87-22D11F38DB9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8492" y="8390236"/>
            <a:ext cx="622268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#hashtag 5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359F0562-E105-5507-78C7-934ABB2D22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8492" y="8135034"/>
            <a:ext cx="622268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#hashtag 4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EFB4130E-C11A-0D6A-F018-64697DEC20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8492" y="7879832"/>
            <a:ext cx="622268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#hashtag 3 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3A0BBC49-D794-41F0-E82A-96037CE593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492" y="7624631"/>
            <a:ext cx="622268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#hashtag 2 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7634818A-6207-4A39-D4FB-5B54653EA3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8492" y="7369430"/>
            <a:ext cx="622268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#hashtag 1 </a:t>
            </a:r>
          </a:p>
        </p:txBody>
      </p:sp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34F1703C-1BA6-7017-540A-27D9B645B30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8491" y="3309207"/>
            <a:ext cx="6222689" cy="55399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2" name="Date Placeholder 15">
            <a:extLst>
              <a:ext uri="{FF2B5EF4-FFF2-40B4-BE49-F238E27FC236}">
                <a16:creationId xmlns:a16="http://schemas.microsoft.com/office/drawing/2014/main" id="{E9F903AF-97C2-787D-A370-F71DAAC6C086}"/>
              </a:ext>
            </a:extLst>
          </p:cNvPr>
          <p:cNvSpPr>
            <a:spLocks noGrp="1"/>
          </p:cNvSpPr>
          <p:nvPr>
            <p:ph type="dt" sz="half" idx="34"/>
          </p:nvPr>
        </p:nvSpPr>
        <p:spPr>
          <a:xfrm>
            <a:off x="668492" y="10196792"/>
            <a:ext cx="1620000" cy="234041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algn="ctr">
              <a:defRPr sz="900" b="1">
                <a:solidFill>
                  <a:srgbClr val="FFFFFF"/>
                </a:solidFill>
              </a:defRPr>
            </a:lvl1pPr>
          </a:lstStyle>
          <a:p>
            <a:fld id="{E4D451F4-86EC-4FD1-A06B-5DF7F821C3FE}" type="datetime2">
              <a:rPr lang="fr-FR" noProof="0" smtClean="0"/>
              <a:pPr/>
              <a:t>vendredi 19 janvier 2024</a:t>
            </a:fld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619119130"/>
      </p:ext>
    </p:extLst>
  </p:cSld>
  <p:clrMapOvr>
    <a:masterClrMapping/>
  </p:clrMapOvr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272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333C8F-25EC-EDD8-B29E-1C067E1639B3}"/>
              </a:ext>
            </a:extLst>
          </p:cNvPr>
          <p:cNvSpPr/>
          <p:nvPr userDrawn="1"/>
        </p:nvSpPr>
        <p:spPr>
          <a:xfrm>
            <a:off x="0" y="0"/>
            <a:ext cx="7559675" cy="21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b="1" noProof="0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6D4E9C3-A6E8-6E64-1043-4D12C9B5F8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039" r="17486"/>
          <a:stretch/>
        </p:blipFill>
        <p:spPr>
          <a:xfrm>
            <a:off x="3779837" y="1135255"/>
            <a:ext cx="3779838" cy="87396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B970309-9E2A-CC56-A6C3-BEF914F72797}"/>
              </a:ext>
            </a:extLst>
          </p:cNvPr>
          <p:cNvSpPr/>
          <p:nvPr userDrawn="1"/>
        </p:nvSpPr>
        <p:spPr>
          <a:xfrm>
            <a:off x="668492" y="1601906"/>
            <a:ext cx="6222690" cy="10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b="1" noProof="0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4C695E1-5494-07E4-AB02-597650002B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5216"/>
          <a:stretch/>
        </p:blipFill>
        <p:spPr>
          <a:xfrm flipH="1">
            <a:off x="0" y="9149373"/>
            <a:ext cx="1475835" cy="873960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F24F0DBC-DC5B-9C08-6F12-A195C25CD780}"/>
              </a:ext>
            </a:extLst>
          </p:cNvPr>
          <p:cNvSpPr/>
          <p:nvPr userDrawn="1"/>
        </p:nvSpPr>
        <p:spPr>
          <a:xfrm>
            <a:off x="6979125" y="10205814"/>
            <a:ext cx="216000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B22D6A13-C99B-4858-8A55-229195EC430D}" type="slidenum">
              <a:rPr lang="fr-FR" sz="800" noProof="0" smtClean="0">
                <a:solidFill>
                  <a:srgbClr val="FFFFFF"/>
                </a:solidFill>
              </a:rPr>
              <a:t>‹N°›</a:t>
            </a:fld>
            <a:endParaRPr lang="fr-FR" sz="800" noProof="0" dirty="0">
              <a:solidFill>
                <a:srgbClr val="FFFFFF"/>
              </a:solidFill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C107661E-3FC0-C4C8-69BE-0F21F7890372}"/>
              </a:ext>
            </a:extLst>
          </p:cNvPr>
          <p:cNvCxnSpPr>
            <a:cxnSpLocks/>
          </p:cNvCxnSpPr>
          <p:nvPr userDrawn="1"/>
        </p:nvCxnSpPr>
        <p:spPr>
          <a:xfrm>
            <a:off x="876521" y="10313813"/>
            <a:ext cx="580663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Graphic 70">
            <a:extLst>
              <a:ext uri="{FF2B5EF4-FFF2-40B4-BE49-F238E27FC236}">
                <a16:creationId xmlns:a16="http://schemas.microsoft.com/office/drawing/2014/main" id="{DAA6E549-D94C-AA75-DF2D-E80C6F63B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61206"/>
          <a:stretch/>
        </p:blipFill>
        <p:spPr>
          <a:xfrm>
            <a:off x="5742875" y="0"/>
            <a:ext cx="1148307" cy="720000"/>
          </a:xfrm>
          <a:prstGeom prst="rect">
            <a:avLst/>
          </a:prstGeom>
        </p:spPr>
      </p:pic>
      <p:sp>
        <p:nvSpPr>
          <p:cNvPr id="73" name="Text Placeholder 36">
            <a:extLst>
              <a:ext uri="{FF2B5EF4-FFF2-40B4-BE49-F238E27FC236}">
                <a16:creationId xmlns:a16="http://schemas.microsoft.com/office/drawing/2014/main" id="{31F3CB7F-A6E8-645A-1BE7-DA635E4674A8}"/>
              </a:ext>
            </a:extLst>
          </p:cNvPr>
          <p:cNvSpPr txBox="1">
            <a:spLocks/>
          </p:cNvSpPr>
          <p:nvPr userDrawn="1"/>
        </p:nvSpPr>
        <p:spPr>
          <a:xfrm>
            <a:off x="0" y="772886"/>
            <a:ext cx="432000" cy="72000"/>
          </a:xfrm>
          <a:prstGeom prst="rect">
            <a:avLst/>
          </a:prstGeom>
          <a:solidFill>
            <a:schemeClr val="tx2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sz="1200" cap="none" noProof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4" name="Title 16">
            <a:extLst>
              <a:ext uri="{FF2B5EF4-FFF2-40B4-BE49-F238E27FC236}">
                <a16:creationId xmlns:a16="http://schemas.microsoft.com/office/drawing/2014/main" id="{0A8A1860-BA89-F9BA-97E9-51C487F01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492" y="562665"/>
            <a:ext cx="6222690" cy="49244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Sommaire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4CD57E41-B3E7-2ED0-EC2B-F44C1D9B45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9836" y="1872000"/>
            <a:ext cx="2159999" cy="288000"/>
          </a:xfrm>
          <a:prstGeom prst="rect">
            <a:avLst/>
          </a:prstGeom>
          <a:solidFill>
            <a:schemeClr val="tx2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83" name="Text Placeholder 19">
            <a:extLst>
              <a:ext uri="{FF2B5EF4-FFF2-40B4-BE49-F238E27FC236}">
                <a16:creationId xmlns:a16="http://schemas.microsoft.com/office/drawing/2014/main" id="{AAA1AE78-8C26-8AA3-6794-C79FE2A301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87838" y="3996116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84" name="Text Placeholder 19">
            <a:extLst>
              <a:ext uri="{FF2B5EF4-FFF2-40B4-BE49-F238E27FC236}">
                <a16:creationId xmlns:a16="http://schemas.microsoft.com/office/drawing/2014/main" id="{23D9BA1D-BE85-E1B5-7790-56C852395E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7838" y="4196457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85" name="Text Placeholder 19">
            <a:extLst>
              <a:ext uri="{FF2B5EF4-FFF2-40B4-BE49-F238E27FC236}">
                <a16:creationId xmlns:a16="http://schemas.microsoft.com/office/drawing/2014/main" id="{7740660E-BA52-D41E-97C8-4AEFE9561C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75836" y="4384069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86" name="Text Placeholder 19">
            <a:extLst>
              <a:ext uri="{FF2B5EF4-FFF2-40B4-BE49-F238E27FC236}">
                <a16:creationId xmlns:a16="http://schemas.microsoft.com/office/drawing/2014/main" id="{4698BCFC-5842-FB8A-A812-6976DBE57D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75836" y="4559403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89" name="Text Placeholder 19">
            <a:extLst>
              <a:ext uri="{FF2B5EF4-FFF2-40B4-BE49-F238E27FC236}">
                <a16:creationId xmlns:a16="http://schemas.microsoft.com/office/drawing/2014/main" id="{05FD051A-21BC-5B87-99CE-B36DBDA62D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63838" y="4752418"/>
            <a:ext cx="3979038" cy="1384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90" name="Text Placeholder 19">
            <a:extLst>
              <a:ext uri="{FF2B5EF4-FFF2-40B4-BE49-F238E27FC236}">
                <a16:creationId xmlns:a16="http://schemas.microsoft.com/office/drawing/2014/main" id="{CBC7445D-46F2-84C5-3CEC-3FA6C506FD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63838" y="4927752"/>
            <a:ext cx="3979038" cy="1384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92" name="Text Placeholder 19">
            <a:extLst>
              <a:ext uri="{FF2B5EF4-FFF2-40B4-BE49-F238E27FC236}">
                <a16:creationId xmlns:a16="http://schemas.microsoft.com/office/drawing/2014/main" id="{0E28A3C3-B992-C95D-4721-49E3114CCE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7097" y="3709702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3" name="Text Placeholder 19">
            <a:extLst>
              <a:ext uri="{FF2B5EF4-FFF2-40B4-BE49-F238E27FC236}">
                <a16:creationId xmlns:a16="http://schemas.microsoft.com/office/drawing/2014/main" id="{EA6E58FB-88D5-2571-7035-2DE80F5500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17097" y="4003810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id="{5D3D60D1-966B-D962-27B8-2FE50CA3AC5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17097" y="4204151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5" name="Text Placeholder 19">
            <a:extLst>
              <a:ext uri="{FF2B5EF4-FFF2-40B4-BE49-F238E27FC236}">
                <a16:creationId xmlns:a16="http://schemas.microsoft.com/office/drawing/2014/main" id="{6A9D3626-4D55-2385-71CE-D56781278B2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17097" y="4384069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6" name="Text Placeholder 19">
            <a:extLst>
              <a:ext uri="{FF2B5EF4-FFF2-40B4-BE49-F238E27FC236}">
                <a16:creationId xmlns:a16="http://schemas.microsoft.com/office/drawing/2014/main" id="{4EB05D79-10F3-5261-257E-22502AF9D9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17097" y="4559403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7" name="Text Placeholder 19">
            <a:extLst>
              <a:ext uri="{FF2B5EF4-FFF2-40B4-BE49-F238E27FC236}">
                <a16:creationId xmlns:a16="http://schemas.microsoft.com/office/drawing/2014/main" id="{700591A9-B600-B876-497A-D71E2E7B78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7097" y="4744496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8" name="Text Placeholder 19">
            <a:extLst>
              <a:ext uri="{FF2B5EF4-FFF2-40B4-BE49-F238E27FC236}">
                <a16:creationId xmlns:a16="http://schemas.microsoft.com/office/drawing/2014/main" id="{C7CB2BA9-029A-A361-35D9-9F07E5DCE01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7097" y="4920371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99" name="Text Placeholder 19">
            <a:extLst>
              <a:ext uri="{FF2B5EF4-FFF2-40B4-BE49-F238E27FC236}">
                <a16:creationId xmlns:a16="http://schemas.microsoft.com/office/drawing/2014/main" id="{9750ED61-46CD-21DE-AA9E-91C6B830C31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87838" y="2223668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00" name="Text Placeholder 19">
            <a:extLst>
              <a:ext uri="{FF2B5EF4-FFF2-40B4-BE49-F238E27FC236}">
                <a16:creationId xmlns:a16="http://schemas.microsoft.com/office/drawing/2014/main" id="{269525A2-0778-A12F-9DC0-3247D162629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87838" y="2424009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01" name="Text Placeholder 19">
            <a:extLst>
              <a:ext uri="{FF2B5EF4-FFF2-40B4-BE49-F238E27FC236}">
                <a16:creationId xmlns:a16="http://schemas.microsoft.com/office/drawing/2014/main" id="{576DC1B4-2CBE-78EC-0FA2-EEC45FB1B88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475836" y="2611621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02" name="Text Placeholder 19">
            <a:extLst>
              <a:ext uri="{FF2B5EF4-FFF2-40B4-BE49-F238E27FC236}">
                <a16:creationId xmlns:a16="http://schemas.microsoft.com/office/drawing/2014/main" id="{047D65F2-DFE4-25B7-ADB7-03141C6E46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75836" y="2786955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03" name="Text Placeholder 19">
            <a:extLst>
              <a:ext uri="{FF2B5EF4-FFF2-40B4-BE49-F238E27FC236}">
                <a16:creationId xmlns:a16="http://schemas.microsoft.com/office/drawing/2014/main" id="{18D7C3CA-C3D5-4163-F671-5E89ED71CF8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763838" y="2979970"/>
            <a:ext cx="3979038" cy="1384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04" name="Text Placeholder 19">
            <a:extLst>
              <a:ext uri="{FF2B5EF4-FFF2-40B4-BE49-F238E27FC236}">
                <a16:creationId xmlns:a16="http://schemas.microsoft.com/office/drawing/2014/main" id="{961ACAE7-D2F1-575F-1CBB-521D2CC4CB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63838" y="3155304"/>
            <a:ext cx="3979038" cy="1384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05" name="Text Placeholder 19">
            <a:extLst>
              <a:ext uri="{FF2B5EF4-FFF2-40B4-BE49-F238E27FC236}">
                <a16:creationId xmlns:a16="http://schemas.microsoft.com/office/drawing/2014/main" id="{FEF82996-C248-FCE0-633F-98D116A9618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7097" y="2231362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06" name="Text Placeholder 19">
            <a:extLst>
              <a:ext uri="{FF2B5EF4-FFF2-40B4-BE49-F238E27FC236}">
                <a16:creationId xmlns:a16="http://schemas.microsoft.com/office/drawing/2014/main" id="{6F94A2A9-9B2A-36F6-A4AF-094B2CE419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17097" y="2431703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07" name="Text Placeholder 19">
            <a:extLst>
              <a:ext uri="{FF2B5EF4-FFF2-40B4-BE49-F238E27FC236}">
                <a16:creationId xmlns:a16="http://schemas.microsoft.com/office/drawing/2014/main" id="{83E2882D-30EF-2B8B-8F40-8BDC953B45B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17097" y="2611621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08" name="Text Placeholder 19">
            <a:extLst>
              <a:ext uri="{FF2B5EF4-FFF2-40B4-BE49-F238E27FC236}">
                <a16:creationId xmlns:a16="http://schemas.microsoft.com/office/drawing/2014/main" id="{AC8AA524-80DA-3577-E88A-9A13AD6515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17097" y="2786955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09" name="Text Placeholder 19">
            <a:extLst>
              <a:ext uri="{FF2B5EF4-FFF2-40B4-BE49-F238E27FC236}">
                <a16:creationId xmlns:a16="http://schemas.microsoft.com/office/drawing/2014/main" id="{94C42090-3896-EC4D-BB1F-8273CEC8ACB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317097" y="2972048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10" name="Text Placeholder 19">
            <a:extLst>
              <a:ext uri="{FF2B5EF4-FFF2-40B4-BE49-F238E27FC236}">
                <a16:creationId xmlns:a16="http://schemas.microsoft.com/office/drawing/2014/main" id="{72B2984B-4024-581C-7861-21C262A6572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17097" y="3147923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11" name="Text Placeholder 19">
            <a:extLst>
              <a:ext uri="{FF2B5EF4-FFF2-40B4-BE49-F238E27FC236}">
                <a16:creationId xmlns:a16="http://schemas.microsoft.com/office/drawing/2014/main" id="{9607511C-33CF-0F2F-22EE-58D80829C11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317097" y="1939056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13" name="Text Placeholder 75">
            <a:extLst>
              <a:ext uri="{FF2B5EF4-FFF2-40B4-BE49-F238E27FC236}">
                <a16:creationId xmlns:a16="http://schemas.microsoft.com/office/drawing/2014/main" id="{0CE798DD-43B4-B9DE-BA80-7941C7A4EC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99836" y="3642646"/>
            <a:ext cx="2159999" cy="288000"/>
          </a:xfrm>
          <a:prstGeom prst="rect">
            <a:avLst/>
          </a:prstGeom>
          <a:solidFill>
            <a:schemeClr val="accent1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14" name="Text Placeholder 19">
            <a:extLst>
              <a:ext uri="{FF2B5EF4-FFF2-40B4-BE49-F238E27FC236}">
                <a16:creationId xmlns:a16="http://schemas.microsoft.com/office/drawing/2014/main" id="{E0CA0F5B-B21D-29FE-275B-BA8FC888379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87838" y="5777961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15" name="Text Placeholder 19">
            <a:extLst>
              <a:ext uri="{FF2B5EF4-FFF2-40B4-BE49-F238E27FC236}">
                <a16:creationId xmlns:a16="http://schemas.microsoft.com/office/drawing/2014/main" id="{60332E23-001C-D1E3-4456-EB1EB02C91B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87838" y="5978302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16" name="Text Placeholder 19">
            <a:extLst>
              <a:ext uri="{FF2B5EF4-FFF2-40B4-BE49-F238E27FC236}">
                <a16:creationId xmlns:a16="http://schemas.microsoft.com/office/drawing/2014/main" id="{A142B663-0A19-E83A-6A4F-51A23F00A7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475836" y="6165914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17" name="Text Placeholder 19">
            <a:extLst>
              <a:ext uri="{FF2B5EF4-FFF2-40B4-BE49-F238E27FC236}">
                <a16:creationId xmlns:a16="http://schemas.microsoft.com/office/drawing/2014/main" id="{27691BA7-CE9E-60AF-2CE1-06D4694CFDF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475836" y="6341248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18" name="Text Placeholder 19">
            <a:extLst>
              <a:ext uri="{FF2B5EF4-FFF2-40B4-BE49-F238E27FC236}">
                <a16:creationId xmlns:a16="http://schemas.microsoft.com/office/drawing/2014/main" id="{0FADC0D3-3E1E-371B-5404-2835D59E089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763838" y="6534263"/>
            <a:ext cx="3979038" cy="1384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19" name="Text Placeholder 19">
            <a:extLst>
              <a:ext uri="{FF2B5EF4-FFF2-40B4-BE49-F238E27FC236}">
                <a16:creationId xmlns:a16="http://schemas.microsoft.com/office/drawing/2014/main" id="{FE69691C-B72C-2538-3067-BDF3959C4B2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763838" y="6709597"/>
            <a:ext cx="3979038" cy="1384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20" name="Text Placeholder 19">
            <a:extLst>
              <a:ext uri="{FF2B5EF4-FFF2-40B4-BE49-F238E27FC236}">
                <a16:creationId xmlns:a16="http://schemas.microsoft.com/office/drawing/2014/main" id="{AF518810-59F0-7FCE-6065-BAC0422C6CB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17097" y="5491547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21" name="Text Placeholder 19">
            <a:extLst>
              <a:ext uri="{FF2B5EF4-FFF2-40B4-BE49-F238E27FC236}">
                <a16:creationId xmlns:a16="http://schemas.microsoft.com/office/drawing/2014/main" id="{E20B0EF6-D289-DF75-32A5-B416A4586C3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17097" y="5785655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22" name="Text Placeholder 19">
            <a:extLst>
              <a:ext uri="{FF2B5EF4-FFF2-40B4-BE49-F238E27FC236}">
                <a16:creationId xmlns:a16="http://schemas.microsoft.com/office/drawing/2014/main" id="{CA4A9A41-476B-FA32-A14B-6A9693F6DCF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17097" y="5985996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23" name="Text Placeholder 19">
            <a:extLst>
              <a:ext uri="{FF2B5EF4-FFF2-40B4-BE49-F238E27FC236}">
                <a16:creationId xmlns:a16="http://schemas.microsoft.com/office/drawing/2014/main" id="{ECF54B4C-B816-EB73-8A1D-6DEEBEC8BA6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17097" y="6165914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24" name="Text Placeholder 19">
            <a:extLst>
              <a:ext uri="{FF2B5EF4-FFF2-40B4-BE49-F238E27FC236}">
                <a16:creationId xmlns:a16="http://schemas.microsoft.com/office/drawing/2014/main" id="{1CC204E4-3430-9E3A-4A71-D56DCC5D5D9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17097" y="6341248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25" name="Text Placeholder 19">
            <a:extLst>
              <a:ext uri="{FF2B5EF4-FFF2-40B4-BE49-F238E27FC236}">
                <a16:creationId xmlns:a16="http://schemas.microsoft.com/office/drawing/2014/main" id="{A78AF972-8580-EC9C-DF79-FE3BEDCF7D4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17097" y="6526341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26" name="Text Placeholder 19">
            <a:extLst>
              <a:ext uri="{FF2B5EF4-FFF2-40B4-BE49-F238E27FC236}">
                <a16:creationId xmlns:a16="http://schemas.microsoft.com/office/drawing/2014/main" id="{83B7AC7B-9C5F-2AB4-B58E-84CDB005634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317097" y="6702216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27" name="Text Placeholder 75">
            <a:extLst>
              <a:ext uri="{FF2B5EF4-FFF2-40B4-BE49-F238E27FC236}">
                <a16:creationId xmlns:a16="http://schemas.microsoft.com/office/drawing/2014/main" id="{7C20B920-BB28-EB32-348F-0083870C126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99836" y="5424491"/>
            <a:ext cx="2159999" cy="288000"/>
          </a:xfrm>
          <a:prstGeom prst="rect">
            <a:avLst/>
          </a:prstGeom>
          <a:solidFill>
            <a:schemeClr val="accent3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28" name="Text Placeholder 19">
            <a:extLst>
              <a:ext uri="{FF2B5EF4-FFF2-40B4-BE49-F238E27FC236}">
                <a16:creationId xmlns:a16="http://schemas.microsoft.com/office/drawing/2014/main" id="{3ED734D4-8649-1037-F4C6-C190436A5DE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187838" y="7554807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29" name="Text Placeholder 19">
            <a:extLst>
              <a:ext uri="{FF2B5EF4-FFF2-40B4-BE49-F238E27FC236}">
                <a16:creationId xmlns:a16="http://schemas.microsoft.com/office/drawing/2014/main" id="{65E712D2-A0A0-F28F-E7CB-F6DF328D38B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187838" y="7755148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30" name="Text Placeholder 19">
            <a:extLst>
              <a:ext uri="{FF2B5EF4-FFF2-40B4-BE49-F238E27FC236}">
                <a16:creationId xmlns:a16="http://schemas.microsoft.com/office/drawing/2014/main" id="{5E6CC394-10AD-1DA7-6637-45924D0618E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475836" y="7942760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31" name="Text Placeholder 19">
            <a:extLst>
              <a:ext uri="{FF2B5EF4-FFF2-40B4-BE49-F238E27FC236}">
                <a16:creationId xmlns:a16="http://schemas.microsoft.com/office/drawing/2014/main" id="{80F80BE3-9456-E5C6-A369-7CF050D7BE8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475836" y="8118094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32" name="Text Placeholder 19">
            <a:extLst>
              <a:ext uri="{FF2B5EF4-FFF2-40B4-BE49-F238E27FC236}">
                <a16:creationId xmlns:a16="http://schemas.microsoft.com/office/drawing/2014/main" id="{1BB4DB22-2B77-9789-6E6E-A4952D78119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763838" y="8311109"/>
            <a:ext cx="3979038" cy="1384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33" name="Text Placeholder 19">
            <a:extLst>
              <a:ext uri="{FF2B5EF4-FFF2-40B4-BE49-F238E27FC236}">
                <a16:creationId xmlns:a16="http://schemas.microsoft.com/office/drawing/2014/main" id="{51E6B207-43F4-F53F-1C0B-4772F23441C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763838" y="8486443"/>
            <a:ext cx="3979038" cy="1384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134" name="Text Placeholder 19">
            <a:extLst>
              <a:ext uri="{FF2B5EF4-FFF2-40B4-BE49-F238E27FC236}">
                <a16:creationId xmlns:a16="http://schemas.microsoft.com/office/drawing/2014/main" id="{B7949FA6-F287-2E6E-2D50-CDFFA6E78B0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17097" y="7268393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35" name="Text Placeholder 19">
            <a:extLst>
              <a:ext uri="{FF2B5EF4-FFF2-40B4-BE49-F238E27FC236}">
                <a16:creationId xmlns:a16="http://schemas.microsoft.com/office/drawing/2014/main" id="{4E71325D-4029-3C2D-AFB5-D0B0997FC2F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317097" y="7562501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36" name="Text Placeholder 19">
            <a:extLst>
              <a:ext uri="{FF2B5EF4-FFF2-40B4-BE49-F238E27FC236}">
                <a16:creationId xmlns:a16="http://schemas.microsoft.com/office/drawing/2014/main" id="{1C310C0B-672F-0A05-58E4-E7E5E149479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17097" y="7762842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37" name="Text Placeholder 19">
            <a:extLst>
              <a:ext uri="{FF2B5EF4-FFF2-40B4-BE49-F238E27FC236}">
                <a16:creationId xmlns:a16="http://schemas.microsoft.com/office/drawing/2014/main" id="{C52C7F37-0DAB-D12A-4529-1B8DC6DDC11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317097" y="7942760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38" name="Text Placeholder 19">
            <a:extLst>
              <a:ext uri="{FF2B5EF4-FFF2-40B4-BE49-F238E27FC236}">
                <a16:creationId xmlns:a16="http://schemas.microsoft.com/office/drawing/2014/main" id="{FA883078-3063-E6D9-0885-9EB53127FF45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317097" y="8118094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39" name="Text Placeholder 19">
            <a:extLst>
              <a:ext uri="{FF2B5EF4-FFF2-40B4-BE49-F238E27FC236}">
                <a16:creationId xmlns:a16="http://schemas.microsoft.com/office/drawing/2014/main" id="{776F799B-D358-2BD2-8776-F77FBCEBECC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17097" y="8303187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40" name="Text Placeholder 19">
            <a:extLst>
              <a:ext uri="{FF2B5EF4-FFF2-40B4-BE49-F238E27FC236}">
                <a16:creationId xmlns:a16="http://schemas.microsoft.com/office/drawing/2014/main" id="{9DAE6E00-C726-92D3-ABBB-FE4963362D6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317097" y="8479062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41" name="Text Placeholder 75">
            <a:extLst>
              <a:ext uri="{FF2B5EF4-FFF2-40B4-BE49-F238E27FC236}">
                <a16:creationId xmlns:a16="http://schemas.microsoft.com/office/drawing/2014/main" id="{1A154BAD-2FCA-A417-0EBF-E4CDBEFBC75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9836" y="7201337"/>
            <a:ext cx="2159999" cy="288000"/>
          </a:xfrm>
          <a:prstGeom prst="rect">
            <a:avLst/>
          </a:prstGeom>
          <a:solidFill>
            <a:schemeClr val="accent5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42" name="Text Placeholder 19">
            <a:extLst>
              <a:ext uri="{FF2B5EF4-FFF2-40B4-BE49-F238E27FC236}">
                <a16:creationId xmlns:a16="http://schemas.microsoft.com/office/drawing/2014/main" id="{21F3BDD3-3CDC-0F63-2BCD-0D4170B8034A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317097" y="9247066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43" name="Text Placeholder 75">
            <a:extLst>
              <a:ext uri="{FF2B5EF4-FFF2-40B4-BE49-F238E27FC236}">
                <a16:creationId xmlns:a16="http://schemas.microsoft.com/office/drawing/2014/main" id="{6ED54316-6179-E8F8-9B36-F1B478A34506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99836" y="8979129"/>
            <a:ext cx="2159999" cy="288000"/>
          </a:xfrm>
          <a:prstGeom prst="rect">
            <a:avLst/>
          </a:prstGeom>
          <a:solidFill>
            <a:srgbClr val="F07E26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144" name="Text Placeholder 19">
            <a:extLst>
              <a:ext uri="{FF2B5EF4-FFF2-40B4-BE49-F238E27FC236}">
                <a16:creationId xmlns:a16="http://schemas.microsoft.com/office/drawing/2014/main" id="{42D473AF-5625-FE36-13EA-8E81BFD5FE56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317097" y="9688372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145" name="Text Placeholder 75">
            <a:extLst>
              <a:ext uri="{FF2B5EF4-FFF2-40B4-BE49-F238E27FC236}">
                <a16:creationId xmlns:a16="http://schemas.microsoft.com/office/drawing/2014/main" id="{FD279F20-EA00-F8E9-95C0-8EE5793FF4C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9836" y="9621316"/>
            <a:ext cx="2159999" cy="288000"/>
          </a:xfrm>
          <a:prstGeom prst="rect">
            <a:avLst/>
          </a:prstGeom>
          <a:solidFill>
            <a:srgbClr val="E6332A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</p:spTree>
    <p:extLst>
      <p:ext uri="{BB962C8B-B14F-4D97-AF65-F5344CB8AC3E}">
        <p14:creationId xmlns:p14="http://schemas.microsoft.com/office/powerpoint/2010/main" val="570305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E51A-209C-F969-2B10-199D11CD1E5B}"/>
              </a:ext>
            </a:extLst>
          </p:cNvPr>
          <p:cNvSpPr/>
          <p:nvPr userDrawn="1"/>
        </p:nvSpPr>
        <p:spPr>
          <a:xfrm>
            <a:off x="6979125" y="10205814"/>
            <a:ext cx="216000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B22D6A13-C99B-4858-8A55-229195EC430D}" type="slidenum">
              <a:rPr lang="fr-FR" sz="800" noProof="0" smtClean="0">
                <a:solidFill>
                  <a:srgbClr val="FFFFFF"/>
                </a:solidFill>
              </a:rPr>
              <a:t>‹N°›</a:t>
            </a:fld>
            <a:endParaRPr lang="fr-FR" sz="800" noProof="0" dirty="0">
              <a:solidFill>
                <a:srgbClr val="FFFFFF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82575E4-C0E9-5F20-C754-B695345F2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61206"/>
          <a:stretch/>
        </p:blipFill>
        <p:spPr>
          <a:xfrm>
            <a:off x="5742875" y="0"/>
            <a:ext cx="1148307" cy="720000"/>
          </a:xfrm>
          <a:prstGeom prst="rect">
            <a:avLst/>
          </a:prstGeom>
        </p:spPr>
      </p:pic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5F4230FB-5EC4-9B2E-3E61-2BF1F5C55616}"/>
              </a:ext>
            </a:extLst>
          </p:cNvPr>
          <p:cNvSpPr txBox="1">
            <a:spLocks/>
          </p:cNvSpPr>
          <p:nvPr userDrawn="1"/>
        </p:nvSpPr>
        <p:spPr>
          <a:xfrm>
            <a:off x="0" y="772886"/>
            <a:ext cx="432000" cy="72000"/>
          </a:xfrm>
          <a:prstGeom prst="rect">
            <a:avLst/>
          </a:prstGeom>
          <a:solidFill>
            <a:schemeClr val="tx2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sz="1200" cap="none" noProof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2" name="Text Placeholder 75">
            <a:extLst>
              <a:ext uri="{FF2B5EF4-FFF2-40B4-BE49-F238E27FC236}">
                <a16:creationId xmlns:a16="http://schemas.microsoft.com/office/drawing/2014/main" id="{89301B73-E567-CDF1-2151-31147B8D10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8490" y="0"/>
            <a:ext cx="2159999" cy="288000"/>
          </a:xfrm>
          <a:prstGeom prst="rect">
            <a:avLst/>
          </a:prstGeom>
          <a:solidFill>
            <a:schemeClr val="tx2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4" name="Text Placeholder 75">
            <a:extLst>
              <a:ext uri="{FF2B5EF4-FFF2-40B4-BE49-F238E27FC236}">
                <a16:creationId xmlns:a16="http://schemas.microsoft.com/office/drawing/2014/main" id="{82B17BE9-12C1-9A18-DAA5-ECA5786E740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0" y="1701343"/>
            <a:ext cx="2159999" cy="288000"/>
          </a:xfrm>
          <a:prstGeom prst="rect">
            <a:avLst/>
          </a:prstGeom>
          <a:solidFill>
            <a:schemeClr val="tx2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5" name="Title 16">
            <a:extLst>
              <a:ext uri="{FF2B5EF4-FFF2-40B4-BE49-F238E27FC236}">
                <a16:creationId xmlns:a16="http://schemas.microsoft.com/office/drawing/2014/main" id="{78292B82-EDE7-F1A8-9D59-BEDB8913F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492" y="439554"/>
            <a:ext cx="6222690" cy="7386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Ceci est le titre </a:t>
            </a:r>
            <a:br>
              <a:rPr lang="fr-FR" noProof="0" dirty="0"/>
            </a:br>
            <a:r>
              <a:rPr lang="fr-FR" noProof="0" dirty="0"/>
              <a:t>de la diapositive sur 2 lignes</a:t>
            </a:r>
          </a:p>
        </p:txBody>
      </p:sp>
      <p:sp>
        <p:nvSpPr>
          <p:cNvPr id="26" name="Text Placeholder 75">
            <a:extLst>
              <a:ext uri="{FF2B5EF4-FFF2-40B4-BE49-F238E27FC236}">
                <a16:creationId xmlns:a16="http://schemas.microsoft.com/office/drawing/2014/main" id="{3736D334-4517-ECC7-AE50-E83FC97E8EB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0" y="3718687"/>
            <a:ext cx="2159999" cy="288000"/>
          </a:xfrm>
          <a:prstGeom prst="rect">
            <a:avLst/>
          </a:prstGeom>
          <a:solidFill>
            <a:schemeClr val="accent5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8538249D-233B-7FA5-D70D-84B4859495A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3184" y="2117413"/>
            <a:ext cx="6227997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 noProof="0" dirty="0"/>
              <a:t>Ceci est le titre d’un paragraph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C60B19C-2867-06D1-D9FF-5B5A42C2CC6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63184" y="2355128"/>
            <a:ext cx="6227997" cy="1067855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0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Premier niveau de texte</a:t>
            </a:r>
          </a:p>
          <a:p>
            <a:pPr lvl="1"/>
            <a:r>
              <a:rPr lang="fr-FR" noProof="0" dirty="0"/>
              <a:t>Second niveau de texte</a:t>
            </a:r>
          </a:p>
          <a:p>
            <a:pPr lvl="2"/>
            <a:r>
              <a:rPr lang="fr-FR" noProof="0" dirty="0"/>
              <a:t>Troisième niveau de texte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45B861BB-1F71-FE5B-544B-6CA28A42E9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63184" y="4133114"/>
            <a:ext cx="6227997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noProof="0" dirty="0"/>
              <a:t>Ceci est le titre d’un paragraph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A57EE2A7-8CB3-D1DF-2E3E-F374D0216B24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63184" y="4370829"/>
            <a:ext cx="6227997" cy="1067855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defRPr sz="10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Premier niveau de texte</a:t>
            </a:r>
          </a:p>
          <a:p>
            <a:pPr lvl="1"/>
            <a:r>
              <a:rPr lang="fr-FR" noProof="0" dirty="0"/>
              <a:t>Second niveau de texte</a:t>
            </a:r>
          </a:p>
          <a:p>
            <a:pPr lvl="2"/>
            <a:r>
              <a:rPr lang="fr-FR" noProof="0" dirty="0"/>
              <a:t>Troisième niveau de texte</a:t>
            </a:r>
          </a:p>
        </p:txBody>
      </p:sp>
      <p:cxnSp>
        <p:nvCxnSpPr>
          <p:cNvPr id="42" name="Straight Connector 47">
            <a:extLst>
              <a:ext uri="{FF2B5EF4-FFF2-40B4-BE49-F238E27FC236}">
                <a16:creationId xmlns:a16="http://schemas.microsoft.com/office/drawing/2014/main" id="{31CD3087-6D8C-2467-614C-D4C00F79511F}"/>
              </a:ext>
            </a:extLst>
          </p:cNvPr>
          <p:cNvCxnSpPr>
            <a:cxnSpLocks/>
          </p:cNvCxnSpPr>
          <p:nvPr userDrawn="1"/>
        </p:nvCxnSpPr>
        <p:spPr>
          <a:xfrm>
            <a:off x="876521" y="10313813"/>
            <a:ext cx="580663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4544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682575E4-C0E9-5F20-C754-B695345F2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61206"/>
          <a:stretch/>
        </p:blipFill>
        <p:spPr>
          <a:xfrm>
            <a:off x="5742875" y="0"/>
            <a:ext cx="1148307" cy="720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0664B91-EAEC-7527-50AD-1BB4C8518A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5586" t="34909" r="13287"/>
          <a:stretch/>
        </p:blipFill>
        <p:spPr>
          <a:xfrm>
            <a:off x="0" y="1558925"/>
            <a:ext cx="4235450" cy="568872"/>
          </a:xfrm>
          <a:prstGeom prst="rect">
            <a:avLst/>
          </a:prstGeom>
        </p:spPr>
      </p:pic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5F4230FB-5EC4-9B2E-3E61-2BF1F5C55616}"/>
              </a:ext>
            </a:extLst>
          </p:cNvPr>
          <p:cNvSpPr txBox="1">
            <a:spLocks/>
          </p:cNvSpPr>
          <p:nvPr userDrawn="1"/>
        </p:nvSpPr>
        <p:spPr>
          <a:xfrm>
            <a:off x="0" y="772886"/>
            <a:ext cx="432000" cy="72000"/>
          </a:xfrm>
          <a:prstGeom prst="rect">
            <a:avLst/>
          </a:prstGeom>
          <a:solidFill>
            <a:schemeClr val="tx2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sz="1200" cap="none" noProof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2" name="Text Placeholder 75">
            <a:extLst>
              <a:ext uri="{FF2B5EF4-FFF2-40B4-BE49-F238E27FC236}">
                <a16:creationId xmlns:a16="http://schemas.microsoft.com/office/drawing/2014/main" id="{89301B73-E567-CDF1-2151-31147B8D10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8490" y="0"/>
            <a:ext cx="2159999" cy="288000"/>
          </a:xfrm>
          <a:prstGeom prst="rect">
            <a:avLst/>
          </a:prstGeom>
          <a:solidFill>
            <a:schemeClr val="tx2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4" name="Text Placeholder 75">
            <a:extLst>
              <a:ext uri="{FF2B5EF4-FFF2-40B4-BE49-F238E27FC236}">
                <a16:creationId xmlns:a16="http://schemas.microsoft.com/office/drawing/2014/main" id="{82B17BE9-12C1-9A18-DAA5-ECA5786E740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0" y="1909284"/>
            <a:ext cx="2159999" cy="288000"/>
          </a:xfrm>
          <a:prstGeom prst="rect">
            <a:avLst/>
          </a:prstGeom>
          <a:solidFill>
            <a:schemeClr val="accent3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5" name="Title 16">
            <a:extLst>
              <a:ext uri="{FF2B5EF4-FFF2-40B4-BE49-F238E27FC236}">
                <a16:creationId xmlns:a16="http://schemas.microsoft.com/office/drawing/2014/main" id="{78292B82-EDE7-F1A8-9D59-BEDB8913F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492" y="439554"/>
            <a:ext cx="6222690" cy="7386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Ceci est le titre </a:t>
            </a:r>
            <a:br>
              <a:rPr lang="fr-FR" noProof="0" dirty="0"/>
            </a:br>
            <a:r>
              <a:rPr lang="fr-FR" noProof="0" dirty="0"/>
              <a:t>de la diapositive sur 2 lignes</a:t>
            </a:r>
          </a:p>
        </p:txBody>
      </p:sp>
      <p:sp>
        <p:nvSpPr>
          <p:cNvPr id="26" name="Text Placeholder 75">
            <a:extLst>
              <a:ext uri="{FF2B5EF4-FFF2-40B4-BE49-F238E27FC236}">
                <a16:creationId xmlns:a16="http://schemas.microsoft.com/office/drawing/2014/main" id="{3736D334-4517-ECC7-AE50-E83FC97E8EB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0" y="4655790"/>
            <a:ext cx="2159999" cy="288000"/>
          </a:xfrm>
          <a:prstGeom prst="rect">
            <a:avLst/>
          </a:prstGeom>
          <a:solidFill>
            <a:schemeClr val="accent5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8538249D-233B-7FA5-D70D-84B4859495A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3184" y="2325354"/>
            <a:ext cx="6227997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noProof="0" dirty="0"/>
              <a:t>Ceci est le titre d’un paragraph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C60B19C-2867-06D1-D9FF-5B5A42C2CC6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63184" y="2563069"/>
            <a:ext cx="6227997" cy="1714722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0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Premier niveau de texte</a:t>
            </a:r>
          </a:p>
          <a:p>
            <a:pPr lvl="1"/>
            <a:r>
              <a:rPr lang="fr-FR" noProof="0" dirty="0"/>
              <a:t>Second niveau de texte</a:t>
            </a:r>
          </a:p>
          <a:p>
            <a:pPr lvl="2"/>
            <a:r>
              <a:rPr lang="fr-FR" noProof="0" dirty="0"/>
              <a:t>Troisième niveau de texte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45B861BB-1F71-FE5B-544B-6CA28A42E9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63184" y="5070217"/>
            <a:ext cx="6227997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noProof="0" dirty="0"/>
              <a:t>Ceci est le titre d’un paragraph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A57EE2A7-8CB3-D1DF-2E3E-F374D0216B24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63184" y="5307932"/>
            <a:ext cx="6227997" cy="1714722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defRPr sz="10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Premier niveau de texte</a:t>
            </a:r>
          </a:p>
          <a:p>
            <a:pPr lvl="1"/>
            <a:r>
              <a:rPr lang="fr-FR" noProof="0" dirty="0"/>
              <a:t>Second niveau de texte</a:t>
            </a:r>
          </a:p>
          <a:p>
            <a:pPr lvl="2"/>
            <a:r>
              <a:rPr lang="fr-FR" noProof="0" dirty="0"/>
              <a:t>Troisième niveau de text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157A86-BA69-7D85-3905-DCE9C2837E1C}"/>
              </a:ext>
            </a:extLst>
          </p:cNvPr>
          <p:cNvSpPr/>
          <p:nvPr userDrawn="1"/>
        </p:nvSpPr>
        <p:spPr>
          <a:xfrm>
            <a:off x="6979125" y="10205814"/>
            <a:ext cx="216000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B22D6A13-C99B-4858-8A55-229195EC430D}" type="slidenum">
              <a:rPr lang="fr-FR" sz="800" noProof="0" smtClean="0">
                <a:solidFill>
                  <a:srgbClr val="FFFFFF"/>
                </a:solidFill>
              </a:rPr>
              <a:t>‹N°›</a:t>
            </a:fld>
            <a:endParaRPr lang="fr-FR" sz="800" noProof="0" dirty="0">
              <a:solidFill>
                <a:srgbClr val="FFFFFF"/>
              </a:solidFill>
            </a:endParaRPr>
          </a:p>
        </p:txBody>
      </p:sp>
      <p:cxnSp>
        <p:nvCxnSpPr>
          <p:cNvPr id="15" name="Straight Connector 47">
            <a:extLst>
              <a:ext uri="{FF2B5EF4-FFF2-40B4-BE49-F238E27FC236}">
                <a16:creationId xmlns:a16="http://schemas.microsoft.com/office/drawing/2014/main" id="{EE3D6288-36B0-D275-832E-B4210742E909}"/>
              </a:ext>
            </a:extLst>
          </p:cNvPr>
          <p:cNvCxnSpPr>
            <a:cxnSpLocks/>
          </p:cNvCxnSpPr>
          <p:nvPr userDrawn="1"/>
        </p:nvCxnSpPr>
        <p:spPr>
          <a:xfrm>
            <a:off x="876521" y="10313813"/>
            <a:ext cx="5806633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4609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98680FC-DE87-CDCC-52BB-003C6554F15E}"/>
              </a:ext>
            </a:extLst>
          </p:cNvPr>
          <p:cNvSpPr/>
          <p:nvPr userDrawn="1"/>
        </p:nvSpPr>
        <p:spPr>
          <a:xfrm>
            <a:off x="1" y="7597588"/>
            <a:ext cx="7559672" cy="3094225"/>
          </a:xfrm>
          <a:custGeom>
            <a:avLst/>
            <a:gdLst>
              <a:gd name="connsiteX0" fmla="*/ 0 w 7559672"/>
              <a:gd name="connsiteY0" fmla="*/ 0 h 2386306"/>
              <a:gd name="connsiteX1" fmla="*/ 7559672 w 7559672"/>
              <a:gd name="connsiteY1" fmla="*/ 0 h 2386306"/>
              <a:gd name="connsiteX2" fmla="*/ 7559672 w 7559672"/>
              <a:gd name="connsiteY2" fmla="*/ 2386306 h 2386306"/>
              <a:gd name="connsiteX3" fmla="*/ 0 w 7559672"/>
              <a:gd name="connsiteY3" fmla="*/ 2386306 h 2386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59672" h="2386306">
                <a:moveTo>
                  <a:pt x="0" y="0"/>
                </a:moveTo>
                <a:lnTo>
                  <a:pt x="7559672" y="0"/>
                </a:lnTo>
                <a:lnTo>
                  <a:pt x="7559672" y="2386306"/>
                </a:lnTo>
                <a:lnTo>
                  <a:pt x="0" y="23863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b="1" noProof="0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B812A36-E516-EEA4-1026-413035FE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252" r="27480" b="56898"/>
          <a:stretch/>
        </p:blipFill>
        <p:spPr>
          <a:xfrm>
            <a:off x="4209042" y="9541796"/>
            <a:ext cx="3350633" cy="37669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A6E51A-209C-F969-2B10-199D11CD1E5B}"/>
              </a:ext>
            </a:extLst>
          </p:cNvPr>
          <p:cNvSpPr/>
          <p:nvPr userDrawn="1"/>
        </p:nvSpPr>
        <p:spPr>
          <a:xfrm>
            <a:off x="6979125" y="10205814"/>
            <a:ext cx="216000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B22D6A13-C99B-4858-8A55-229195EC430D}" type="slidenum">
              <a:rPr lang="fr-FR" sz="800" noProof="0" smtClean="0">
                <a:solidFill>
                  <a:srgbClr val="FFFFFF"/>
                </a:solidFill>
              </a:rPr>
              <a:t>‹N°›</a:t>
            </a:fld>
            <a:endParaRPr lang="fr-FR" sz="800" noProof="0" dirty="0">
              <a:solidFill>
                <a:srgbClr val="FFFFF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51BC266-AB64-548E-74DE-F21D0A5594B3}"/>
              </a:ext>
            </a:extLst>
          </p:cNvPr>
          <p:cNvCxnSpPr>
            <a:cxnSpLocks/>
          </p:cNvCxnSpPr>
          <p:nvPr userDrawn="1"/>
        </p:nvCxnSpPr>
        <p:spPr>
          <a:xfrm>
            <a:off x="876521" y="10313813"/>
            <a:ext cx="5806633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682575E4-C0E9-5F20-C754-B695345F2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61206"/>
          <a:stretch/>
        </p:blipFill>
        <p:spPr>
          <a:xfrm>
            <a:off x="5742875" y="0"/>
            <a:ext cx="1148307" cy="720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0664B91-EAEC-7527-50AD-1BB4C8518A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5586" t="34909" r="13287"/>
          <a:stretch/>
        </p:blipFill>
        <p:spPr>
          <a:xfrm>
            <a:off x="0" y="1558925"/>
            <a:ext cx="4235450" cy="568872"/>
          </a:xfrm>
          <a:prstGeom prst="rect">
            <a:avLst/>
          </a:prstGeom>
        </p:spPr>
      </p:pic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5F4230FB-5EC4-9B2E-3E61-2BF1F5C55616}"/>
              </a:ext>
            </a:extLst>
          </p:cNvPr>
          <p:cNvSpPr txBox="1">
            <a:spLocks/>
          </p:cNvSpPr>
          <p:nvPr userDrawn="1"/>
        </p:nvSpPr>
        <p:spPr>
          <a:xfrm>
            <a:off x="0" y="772886"/>
            <a:ext cx="432000" cy="72000"/>
          </a:xfrm>
          <a:prstGeom prst="rect">
            <a:avLst/>
          </a:prstGeom>
          <a:solidFill>
            <a:schemeClr val="tx2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sz="1200" cap="none" noProof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2" name="Text Placeholder 75">
            <a:extLst>
              <a:ext uri="{FF2B5EF4-FFF2-40B4-BE49-F238E27FC236}">
                <a16:creationId xmlns:a16="http://schemas.microsoft.com/office/drawing/2014/main" id="{89301B73-E567-CDF1-2151-31147B8D10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8490" y="0"/>
            <a:ext cx="2159999" cy="288000"/>
          </a:xfrm>
          <a:prstGeom prst="rect">
            <a:avLst/>
          </a:prstGeom>
          <a:solidFill>
            <a:schemeClr val="tx2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3" name="Text Placeholder 75">
            <a:extLst>
              <a:ext uri="{FF2B5EF4-FFF2-40B4-BE49-F238E27FC236}">
                <a16:creationId xmlns:a16="http://schemas.microsoft.com/office/drawing/2014/main" id="{0230DC8D-0A19-6D35-8FF1-EA048467095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0" y="7402296"/>
            <a:ext cx="4053600" cy="288000"/>
          </a:xfrm>
          <a:prstGeom prst="rect">
            <a:avLst/>
          </a:prstGeom>
          <a:solidFill>
            <a:schemeClr val="accent1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4" name="Text Placeholder 75">
            <a:extLst>
              <a:ext uri="{FF2B5EF4-FFF2-40B4-BE49-F238E27FC236}">
                <a16:creationId xmlns:a16="http://schemas.microsoft.com/office/drawing/2014/main" id="{82B17BE9-12C1-9A18-DAA5-ECA5786E740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0" y="1909284"/>
            <a:ext cx="2159999" cy="288000"/>
          </a:xfrm>
          <a:prstGeom prst="rect">
            <a:avLst/>
          </a:prstGeom>
          <a:solidFill>
            <a:schemeClr val="accent3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5" name="Title 16">
            <a:extLst>
              <a:ext uri="{FF2B5EF4-FFF2-40B4-BE49-F238E27FC236}">
                <a16:creationId xmlns:a16="http://schemas.microsoft.com/office/drawing/2014/main" id="{78292B82-EDE7-F1A8-9D59-BEDB8913F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492" y="439554"/>
            <a:ext cx="6222690" cy="7386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Ceci est le titre </a:t>
            </a:r>
            <a:br>
              <a:rPr lang="fr-FR" noProof="0" dirty="0"/>
            </a:br>
            <a:r>
              <a:rPr lang="fr-FR" noProof="0" dirty="0"/>
              <a:t>de la diapositive sur 2 lignes</a:t>
            </a:r>
          </a:p>
        </p:txBody>
      </p:sp>
      <p:sp>
        <p:nvSpPr>
          <p:cNvPr id="26" name="Text Placeholder 75">
            <a:extLst>
              <a:ext uri="{FF2B5EF4-FFF2-40B4-BE49-F238E27FC236}">
                <a16:creationId xmlns:a16="http://schemas.microsoft.com/office/drawing/2014/main" id="{3736D334-4517-ECC7-AE50-E83FC97E8EB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0" y="4655790"/>
            <a:ext cx="2159999" cy="288000"/>
          </a:xfrm>
          <a:prstGeom prst="rect">
            <a:avLst/>
          </a:prstGeom>
          <a:solidFill>
            <a:schemeClr val="accent5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8538249D-233B-7FA5-D70D-84B4859495A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3184" y="2325354"/>
            <a:ext cx="6227997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noProof="0" dirty="0"/>
              <a:t>Ceci est le titre d’un paragraph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C60B19C-2867-06D1-D9FF-5B5A42C2CC6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63184" y="2563069"/>
            <a:ext cx="6227997" cy="1714722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0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Premier niveau de texte</a:t>
            </a:r>
          </a:p>
          <a:p>
            <a:pPr lvl="1"/>
            <a:r>
              <a:rPr lang="fr-FR" noProof="0" dirty="0"/>
              <a:t>Second niveau de texte</a:t>
            </a:r>
          </a:p>
          <a:p>
            <a:pPr lvl="2"/>
            <a:r>
              <a:rPr lang="fr-FR" noProof="0" dirty="0"/>
              <a:t>Troisième niveau de texte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45B861BB-1F71-FE5B-544B-6CA28A42E9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63184" y="5070217"/>
            <a:ext cx="6227997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noProof="0" dirty="0"/>
              <a:t>Ceci est le titre d’un paragraph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A57EE2A7-8CB3-D1DF-2E3E-F374D0216B24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63184" y="5307932"/>
            <a:ext cx="6227997" cy="1714722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defRPr sz="10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Premier niveau de texte</a:t>
            </a:r>
          </a:p>
          <a:p>
            <a:pPr lvl="1"/>
            <a:r>
              <a:rPr lang="fr-FR" noProof="0" dirty="0"/>
              <a:t>Second niveau de texte</a:t>
            </a:r>
          </a:p>
          <a:p>
            <a:pPr lvl="2"/>
            <a:r>
              <a:rPr lang="fr-FR" noProof="0" dirty="0"/>
              <a:t>Troisième niveau de texte</a:t>
            </a:r>
          </a:p>
        </p:txBody>
      </p:sp>
      <p:sp>
        <p:nvSpPr>
          <p:cNvPr id="36" name="Text Placeholder 19">
            <a:extLst>
              <a:ext uri="{FF2B5EF4-FFF2-40B4-BE49-F238E27FC236}">
                <a16:creationId xmlns:a16="http://schemas.microsoft.com/office/drawing/2014/main" id="{AA5DE5AC-DAF9-3239-EF2D-E24E0B2B966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88940" y="8006459"/>
            <a:ext cx="359809" cy="36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8B3165A6-C863-4787-F703-26E88EB0722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48749" y="8003814"/>
            <a:ext cx="5945943" cy="360000"/>
          </a:xfrm>
          <a:prstGeom prst="rect">
            <a:avLst/>
          </a:prstGeom>
          <a:solidFill>
            <a:srgbClr val="FFFFFF"/>
          </a:solidFill>
        </p:spPr>
        <p:txBody>
          <a:bodyPr lIns="216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None/>
              <a:defRPr sz="12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38" name="Text Placeholder 19">
            <a:extLst>
              <a:ext uri="{FF2B5EF4-FFF2-40B4-BE49-F238E27FC236}">
                <a16:creationId xmlns:a16="http://schemas.microsoft.com/office/drawing/2014/main" id="{9752D619-763D-193F-5622-64F19ABFEC1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88940" y="8496214"/>
            <a:ext cx="359809" cy="36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CBA514DA-41EC-9CEC-E8B9-B96671060747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48749" y="8493569"/>
            <a:ext cx="5945943" cy="360000"/>
          </a:xfrm>
          <a:prstGeom prst="rect">
            <a:avLst/>
          </a:prstGeom>
          <a:solidFill>
            <a:srgbClr val="FFFFFF"/>
          </a:solidFill>
        </p:spPr>
        <p:txBody>
          <a:bodyPr lIns="216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None/>
              <a:defRPr sz="12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654BE38A-C3B8-03B1-B495-ED9FF6DF550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88940" y="8985968"/>
            <a:ext cx="359809" cy="36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##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01EA9598-BAE3-E538-542C-1C72D178FD2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48749" y="8983323"/>
            <a:ext cx="5945943" cy="360000"/>
          </a:xfrm>
          <a:prstGeom prst="rect">
            <a:avLst/>
          </a:prstGeom>
          <a:solidFill>
            <a:srgbClr val="FFFFFF"/>
          </a:solidFill>
        </p:spPr>
        <p:txBody>
          <a:bodyPr lIns="216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None/>
              <a:defRPr sz="12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Insérer texte</a:t>
            </a:r>
          </a:p>
        </p:txBody>
      </p:sp>
    </p:spTree>
    <p:extLst>
      <p:ext uri="{BB962C8B-B14F-4D97-AF65-F5344CB8AC3E}">
        <p14:creationId xmlns:p14="http://schemas.microsoft.com/office/powerpoint/2010/main" val="692858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E51A-209C-F969-2B10-199D11CD1E5B}"/>
              </a:ext>
            </a:extLst>
          </p:cNvPr>
          <p:cNvSpPr/>
          <p:nvPr userDrawn="1"/>
        </p:nvSpPr>
        <p:spPr>
          <a:xfrm>
            <a:off x="6979125" y="10205814"/>
            <a:ext cx="216000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B22D6A13-C99B-4858-8A55-229195EC430D}" type="slidenum">
              <a:rPr lang="fr-FR" sz="800" noProof="0" smtClean="0">
                <a:solidFill>
                  <a:srgbClr val="FFFFFF"/>
                </a:solidFill>
              </a:rPr>
              <a:t>‹N°›</a:t>
            </a:fld>
            <a:endParaRPr lang="fr-FR" sz="800" noProof="0" dirty="0">
              <a:solidFill>
                <a:srgbClr val="FFFFFF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82575E4-C0E9-5F20-C754-B695345F2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61206"/>
          <a:stretch/>
        </p:blipFill>
        <p:spPr>
          <a:xfrm>
            <a:off x="5742875" y="0"/>
            <a:ext cx="1148307" cy="720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0664B91-EAEC-7527-50AD-1BB4C8518A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5586" t="34909" r="13287"/>
          <a:stretch/>
        </p:blipFill>
        <p:spPr>
          <a:xfrm>
            <a:off x="0" y="1558925"/>
            <a:ext cx="4235450" cy="568872"/>
          </a:xfrm>
          <a:prstGeom prst="rect">
            <a:avLst/>
          </a:prstGeom>
        </p:spPr>
      </p:pic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5F4230FB-5EC4-9B2E-3E61-2BF1F5C55616}"/>
              </a:ext>
            </a:extLst>
          </p:cNvPr>
          <p:cNvSpPr txBox="1">
            <a:spLocks/>
          </p:cNvSpPr>
          <p:nvPr userDrawn="1"/>
        </p:nvSpPr>
        <p:spPr>
          <a:xfrm>
            <a:off x="0" y="772886"/>
            <a:ext cx="432000" cy="72000"/>
          </a:xfrm>
          <a:prstGeom prst="rect">
            <a:avLst/>
          </a:prstGeom>
          <a:solidFill>
            <a:schemeClr val="tx2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sz="1200" cap="none" noProof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2" name="Text Placeholder 75">
            <a:extLst>
              <a:ext uri="{FF2B5EF4-FFF2-40B4-BE49-F238E27FC236}">
                <a16:creationId xmlns:a16="http://schemas.microsoft.com/office/drawing/2014/main" id="{89301B73-E567-CDF1-2151-31147B8D10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8490" y="0"/>
            <a:ext cx="2159999" cy="288000"/>
          </a:xfrm>
          <a:prstGeom prst="rect">
            <a:avLst/>
          </a:prstGeom>
          <a:solidFill>
            <a:schemeClr val="tx2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4" name="Text Placeholder 75">
            <a:extLst>
              <a:ext uri="{FF2B5EF4-FFF2-40B4-BE49-F238E27FC236}">
                <a16:creationId xmlns:a16="http://schemas.microsoft.com/office/drawing/2014/main" id="{82B17BE9-12C1-9A18-DAA5-ECA5786E740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0" y="1909284"/>
            <a:ext cx="2159999" cy="288000"/>
          </a:xfrm>
          <a:prstGeom prst="rect">
            <a:avLst/>
          </a:prstGeom>
          <a:solidFill>
            <a:schemeClr val="accent3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5" name="Title 16">
            <a:extLst>
              <a:ext uri="{FF2B5EF4-FFF2-40B4-BE49-F238E27FC236}">
                <a16:creationId xmlns:a16="http://schemas.microsoft.com/office/drawing/2014/main" id="{78292B82-EDE7-F1A8-9D59-BEDB8913F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492" y="439554"/>
            <a:ext cx="6222690" cy="7386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Ceci est le titre </a:t>
            </a:r>
            <a:br>
              <a:rPr lang="fr-FR" noProof="0" dirty="0"/>
            </a:br>
            <a:r>
              <a:rPr lang="fr-FR" noProof="0" dirty="0"/>
              <a:t>de la diapositive sur 2 lignes</a:t>
            </a:r>
          </a:p>
        </p:txBody>
      </p:sp>
      <p:sp>
        <p:nvSpPr>
          <p:cNvPr id="26" name="Text Placeholder 75">
            <a:extLst>
              <a:ext uri="{FF2B5EF4-FFF2-40B4-BE49-F238E27FC236}">
                <a16:creationId xmlns:a16="http://schemas.microsoft.com/office/drawing/2014/main" id="{3736D334-4517-ECC7-AE50-E83FC97E8EB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0" y="4655790"/>
            <a:ext cx="2159999" cy="288000"/>
          </a:xfrm>
          <a:prstGeom prst="rect">
            <a:avLst/>
          </a:prstGeom>
          <a:solidFill>
            <a:schemeClr val="accent5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8538249D-233B-7FA5-D70D-84B4859495A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3184" y="2325354"/>
            <a:ext cx="6227997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noProof="0" dirty="0"/>
              <a:t>Ceci est le titre d’un paragraph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C60B19C-2867-06D1-D9FF-5B5A42C2CC6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63184" y="2563069"/>
            <a:ext cx="6227997" cy="1714722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0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Premier niveau de texte</a:t>
            </a:r>
          </a:p>
          <a:p>
            <a:pPr lvl="1"/>
            <a:r>
              <a:rPr lang="fr-FR" noProof="0" dirty="0"/>
              <a:t>Second niveau de texte</a:t>
            </a:r>
          </a:p>
          <a:p>
            <a:pPr lvl="2"/>
            <a:r>
              <a:rPr lang="fr-FR" noProof="0" dirty="0"/>
              <a:t>Troisième niveau de texte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45B861BB-1F71-FE5B-544B-6CA28A42E9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63184" y="5070217"/>
            <a:ext cx="6227997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noProof="0" dirty="0"/>
              <a:t>Ceci est le titre d’un paragraph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A57EE2A7-8CB3-D1DF-2E3E-F374D0216B24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63184" y="5307932"/>
            <a:ext cx="6227997" cy="1714722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defRPr sz="10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Premier niveau de texte</a:t>
            </a:r>
          </a:p>
          <a:p>
            <a:pPr lvl="1"/>
            <a:r>
              <a:rPr lang="fr-FR" noProof="0" dirty="0"/>
              <a:t>Second niveau de texte</a:t>
            </a:r>
          </a:p>
          <a:p>
            <a:pPr lvl="2"/>
            <a:r>
              <a:rPr lang="fr-FR" noProof="0" dirty="0"/>
              <a:t>Troisième niveau de texte</a:t>
            </a:r>
          </a:p>
        </p:txBody>
      </p:sp>
      <p:cxnSp>
        <p:nvCxnSpPr>
          <p:cNvPr id="42" name="Straight Connector 47">
            <a:extLst>
              <a:ext uri="{FF2B5EF4-FFF2-40B4-BE49-F238E27FC236}">
                <a16:creationId xmlns:a16="http://schemas.microsoft.com/office/drawing/2014/main" id="{31CD3087-6D8C-2467-614C-D4C00F79511F}"/>
              </a:ext>
            </a:extLst>
          </p:cNvPr>
          <p:cNvCxnSpPr>
            <a:cxnSpLocks/>
          </p:cNvCxnSpPr>
          <p:nvPr userDrawn="1"/>
        </p:nvCxnSpPr>
        <p:spPr>
          <a:xfrm>
            <a:off x="876521" y="10313813"/>
            <a:ext cx="580663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5">
            <a:extLst>
              <a:ext uri="{FF2B5EF4-FFF2-40B4-BE49-F238E27FC236}">
                <a16:creationId xmlns:a16="http://schemas.microsoft.com/office/drawing/2014/main" id="{54098377-7091-1991-D1C1-A59D301408FA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0" y="7402296"/>
            <a:ext cx="2159999" cy="288000"/>
          </a:xfrm>
          <a:prstGeom prst="rect">
            <a:avLst/>
          </a:prstGeom>
          <a:solidFill>
            <a:schemeClr val="accent1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8EA6EC52-9C83-256B-9B27-3B2F19587BB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63184" y="7816723"/>
            <a:ext cx="6227997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noProof="0" dirty="0"/>
              <a:t>Ceci est le titre d’un paragraphe</a:t>
            </a:r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2133EEE8-A0C5-0F99-A8A8-50E7DF020C7D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63184" y="8054438"/>
            <a:ext cx="6227997" cy="1714722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defRPr sz="1000">
                <a:solidFill>
                  <a:schemeClr val="bg2"/>
                </a:solidFill>
              </a:defRPr>
            </a:lvl1pPr>
            <a:lvl2pPr marL="3456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Montserrat" panose="00000500000000000000" pitchFamily="2" charset="0"/>
              <a:buChar char="-"/>
              <a:defRPr sz="900">
                <a:solidFill>
                  <a:schemeClr val="bg2"/>
                </a:solidFill>
              </a:defRPr>
            </a:lvl2pPr>
            <a:lvl3pPr marL="518400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80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noProof="0" dirty="0"/>
              <a:t>Premier niveau de texte</a:t>
            </a:r>
          </a:p>
          <a:p>
            <a:pPr lvl="1"/>
            <a:r>
              <a:rPr lang="fr-FR" noProof="0" dirty="0"/>
              <a:t>Second niveau de texte</a:t>
            </a:r>
          </a:p>
          <a:p>
            <a:pPr lvl="2"/>
            <a:r>
              <a:rPr lang="fr-FR" noProof="0" dirty="0"/>
              <a:t>Troisième niveau de texte</a:t>
            </a:r>
          </a:p>
        </p:txBody>
      </p:sp>
    </p:spTree>
    <p:extLst>
      <p:ext uri="{BB962C8B-B14F-4D97-AF65-F5344CB8AC3E}">
        <p14:creationId xmlns:p14="http://schemas.microsoft.com/office/powerpoint/2010/main" val="5602182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1EECCB14-9111-5213-E4E2-F8EBD8D24A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4171" t="34909" r="13287" b="15075"/>
          <a:stretch/>
        </p:blipFill>
        <p:spPr>
          <a:xfrm>
            <a:off x="0" y="1842525"/>
            <a:ext cx="3128751" cy="437125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CAAAA7B3-DD23-60AA-F347-4A26914D1069}"/>
              </a:ext>
            </a:extLst>
          </p:cNvPr>
          <p:cNvGrpSpPr/>
          <p:nvPr userDrawn="1"/>
        </p:nvGrpSpPr>
        <p:grpSpPr>
          <a:xfrm>
            <a:off x="4602687" y="6586161"/>
            <a:ext cx="2956988" cy="873959"/>
            <a:chOff x="4602687" y="6508715"/>
            <a:chExt cx="2956988" cy="873959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BDEBAC14-D856-E050-76FC-E5EB371CFE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15586" t="68536" r="34757"/>
            <a:stretch/>
          </p:blipFill>
          <p:spPr>
            <a:xfrm>
              <a:off x="4602687" y="7107695"/>
              <a:ext cx="2956988" cy="274979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A4C8DA3D-348D-6A84-7463-2D724F5F25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5586" r="34757" b="31464"/>
            <a:stretch/>
          </p:blipFill>
          <p:spPr>
            <a:xfrm>
              <a:off x="4602687" y="6508715"/>
              <a:ext cx="2956988" cy="598979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FA6E51A-209C-F969-2B10-199D11CD1E5B}"/>
              </a:ext>
            </a:extLst>
          </p:cNvPr>
          <p:cNvSpPr/>
          <p:nvPr userDrawn="1"/>
        </p:nvSpPr>
        <p:spPr>
          <a:xfrm>
            <a:off x="6979125" y="10205814"/>
            <a:ext cx="216000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B22D6A13-C99B-4858-8A55-229195EC430D}" type="slidenum">
              <a:rPr lang="fr-FR" sz="800" noProof="0" smtClean="0">
                <a:solidFill>
                  <a:srgbClr val="FFFFFF"/>
                </a:solidFill>
              </a:rPr>
              <a:t>‹N°›</a:t>
            </a:fld>
            <a:endParaRPr lang="fr-FR" sz="800" noProof="0" dirty="0">
              <a:solidFill>
                <a:srgbClr val="FFFFFF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82575E4-C0E9-5F20-C754-B695345F2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61206"/>
          <a:stretch/>
        </p:blipFill>
        <p:spPr>
          <a:xfrm>
            <a:off x="5742875" y="0"/>
            <a:ext cx="1148307" cy="720000"/>
          </a:xfrm>
          <a:prstGeom prst="rect">
            <a:avLst/>
          </a:prstGeom>
        </p:spPr>
      </p:pic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5F4230FB-5EC4-9B2E-3E61-2BF1F5C55616}"/>
              </a:ext>
            </a:extLst>
          </p:cNvPr>
          <p:cNvSpPr txBox="1">
            <a:spLocks/>
          </p:cNvSpPr>
          <p:nvPr userDrawn="1"/>
        </p:nvSpPr>
        <p:spPr>
          <a:xfrm>
            <a:off x="0" y="772886"/>
            <a:ext cx="432000" cy="72000"/>
          </a:xfrm>
          <a:prstGeom prst="rect">
            <a:avLst/>
          </a:prstGeom>
          <a:solidFill>
            <a:schemeClr val="tx2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sz="1200" cap="none" noProof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2" name="Text Placeholder 75">
            <a:extLst>
              <a:ext uri="{FF2B5EF4-FFF2-40B4-BE49-F238E27FC236}">
                <a16:creationId xmlns:a16="http://schemas.microsoft.com/office/drawing/2014/main" id="{89301B73-E567-CDF1-2151-31147B8D10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8490" y="0"/>
            <a:ext cx="2159999" cy="288000"/>
          </a:xfrm>
          <a:prstGeom prst="rect">
            <a:avLst/>
          </a:prstGeom>
          <a:solidFill>
            <a:schemeClr val="tx2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Nom de la section</a:t>
            </a:r>
          </a:p>
        </p:txBody>
      </p:sp>
      <p:sp>
        <p:nvSpPr>
          <p:cNvPr id="24" name="Text Placeholder 75">
            <a:extLst>
              <a:ext uri="{FF2B5EF4-FFF2-40B4-BE49-F238E27FC236}">
                <a16:creationId xmlns:a16="http://schemas.microsoft.com/office/drawing/2014/main" id="{82B17BE9-12C1-9A18-DAA5-ECA5786E740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0" y="1699361"/>
            <a:ext cx="2159999" cy="288000"/>
          </a:xfrm>
          <a:prstGeom prst="rect">
            <a:avLst/>
          </a:prstGeom>
          <a:solidFill>
            <a:schemeClr val="tx2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 infographie</a:t>
            </a:r>
          </a:p>
        </p:txBody>
      </p:sp>
      <p:sp>
        <p:nvSpPr>
          <p:cNvPr id="25" name="Title 16">
            <a:extLst>
              <a:ext uri="{FF2B5EF4-FFF2-40B4-BE49-F238E27FC236}">
                <a16:creationId xmlns:a16="http://schemas.microsoft.com/office/drawing/2014/main" id="{78292B82-EDE7-F1A8-9D59-BEDB8913F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492" y="439554"/>
            <a:ext cx="6222690" cy="7386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Ceci est le titre </a:t>
            </a:r>
            <a:br>
              <a:rPr lang="fr-FR" noProof="0" dirty="0"/>
            </a:br>
            <a:r>
              <a:rPr lang="fr-FR" noProof="0" dirty="0"/>
              <a:t>de la diapositive sur 2 lignes</a:t>
            </a:r>
          </a:p>
        </p:txBody>
      </p:sp>
      <p:sp>
        <p:nvSpPr>
          <p:cNvPr id="26" name="Text Placeholder 75">
            <a:extLst>
              <a:ext uri="{FF2B5EF4-FFF2-40B4-BE49-F238E27FC236}">
                <a16:creationId xmlns:a16="http://schemas.microsoft.com/office/drawing/2014/main" id="{3736D334-4517-ECC7-AE50-E83FC97E8EB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0" y="4575143"/>
            <a:ext cx="2159999" cy="288000"/>
          </a:xfrm>
          <a:prstGeom prst="rect">
            <a:avLst/>
          </a:prstGeom>
          <a:solidFill>
            <a:schemeClr val="accent3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 infographie</a:t>
            </a:r>
          </a:p>
        </p:txBody>
      </p:sp>
      <p:cxnSp>
        <p:nvCxnSpPr>
          <p:cNvPr id="42" name="Straight Connector 47">
            <a:extLst>
              <a:ext uri="{FF2B5EF4-FFF2-40B4-BE49-F238E27FC236}">
                <a16:creationId xmlns:a16="http://schemas.microsoft.com/office/drawing/2014/main" id="{31CD3087-6D8C-2467-614C-D4C00F79511F}"/>
              </a:ext>
            </a:extLst>
          </p:cNvPr>
          <p:cNvCxnSpPr>
            <a:cxnSpLocks/>
          </p:cNvCxnSpPr>
          <p:nvPr userDrawn="1"/>
        </p:nvCxnSpPr>
        <p:spPr>
          <a:xfrm>
            <a:off x="876521" y="10313813"/>
            <a:ext cx="580663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5">
            <a:extLst>
              <a:ext uri="{FF2B5EF4-FFF2-40B4-BE49-F238E27FC236}">
                <a16:creationId xmlns:a16="http://schemas.microsoft.com/office/drawing/2014/main" id="{54098377-7091-1991-D1C1-A59D301408FA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0" y="7450925"/>
            <a:ext cx="2159999" cy="288000"/>
          </a:xfrm>
          <a:prstGeom prst="rect">
            <a:avLst/>
          </a:prstGeom>
          <a:solidFill>
            <a:schemeClr val="accent1"/>
          </a:solidFill>
        </p:spPr>
        <p:txBody>
          <a:bodyPr lIns="14400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noProof="0" dirty="0"/>
              <a:t>Titre infographie</a:t>
            </a:r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7FD6496A-F7AE-2D65-9EEA-71A90B28F23F}"/>
              </a:ext>
            </a:extLst>
          </p:cNvPr>
          <p:cNvSpPr>
            <a:spLocks noGrp="1"/>
          </p:cNvSpPr>
          <p:nvPr>
            <p:ph type="chart" sz="quarter" idx="79" hasCustomPrompt="1"/>
          </p:nvPr>
        </p:nvSpPr>
        <p:spPr>
          <a:xfrm>
            <a:off x="668337" y="2095360"/>
            <a:ext cx="6223001" cy="1943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Insérer graphique</a:t>
            </a:r>
          </a:p>
        </p:txBody>
      </p:sp>
      <p:sp>
        <p:nvSpPr>
          <p:cNvPr id="17" name="Chart Placeholder 13">
            <a:extLst>
              <a:ext uri="{FF2B5EF4-FFF2-40B4-BE49-F238E27FC236}">
                <a16:creationId xmlns:a16="http://schemas.microsoft.com/office/drawing/2014/main" id="{C2D0E286-0FFC-C552-5942-1509EBA58AA0}"/>
              </a:ext>
            </a:extLst>
          </p:cNvPr>
          <p:cNvSpPr>
            <a:spLocks noGrp="1"/>
          </p:cNvSpPr>
          <p:nvPr>
            <p:ph type="chart" sz="quarter" idx="80" hasCustomPrompt="1"/>
          </p:nvPr>
        </p:nvSpPr>
        <p:spPr>
          <a:xfrm>
            <a:off x="668337" y="4975359"/>
            <a:ext cx="6223001" cy="1943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Insérer graphique</a:t>
            </a:r>
          </a:p>
        </p:txBody>
      </p:sp>
      <p:sp>
        <p:nvSpPr>
          <p:cNvPr id="18" name="Chart Placeholder 13">
            <a:extLst>
              <a:ext uri="{FF2B5EF4-FFF2-40B4-BE49-F238E27FC236}">
                <a16:creationId xmlns:a16="http://schemas.microsoft.com/office/drawing/2014/main" id="{E537825D-A4FF-5A4B-DC2E-7C79A42B6D32}"/>
              </a:ext>
            </a:extLst>
          </p:cNvPr>
          <p:cNvSpPr>
            <a:spLocks noGrp="1"/>
          </p:cNvSpPr>
          <p:nvPr>
            <p:ph type="chart" sz="quarter" idx="81" hasCustomPrompt="1"/>
          </p:nvPr>
        </p:nvSpPr>
        <p:spPr>
          <a:xfrm>
            <a:off x="668337" y="7856003"/>
            <a:ext cx="6223001" cy="1943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Insérer graphique</a:t>
            </a:r>
          </a:p>
        </p:txBody>
      </p:sp>
    </p:spTree>
    <p:extLst>
      <p:ext uri="{BB962C8B-B14F-4D97-AF65-F5344CB8AC3E}">
        <p14:creationId xmlns:p14="http://schemas.microsoft.com/office/powerpoint/2010/main" val="28558233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icture Placeholder 110">
            <a:extLst>
              <a:ext uri="{FF2B5EF4-FFF2-40B4-BE49-F238E27FC236}">
                <a16:creationId xmlns:a16="http://schemas.microsoft.com/office/drawing/2014/main" id="{F6DA5E16-C319-6058-0E62-EA71A37566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" y="-781"/>
            <a:ext cx="7559666" cy="5345894"/>
          </a:xfrm>
          <a:custGeom>
            <a:avLst/>
            <a:gdLst>
              <a:gd name="connsiteX0" fmla="*/ 3347077 w 7559666"/>
              <a:gd name="connsiteY0" fmla="*/ 3511124 h 5345894"/>
              <a:gd name="connsiteX1" fmla="*/ 3357692 w 7559666"/>
              <a:gd name="connsiteY1" fmla="*/ 3536545 h 5345894"/>
              <a:gd name="connsiteX2" fmla="*/ 3336460 w 7559666"/>
              <a:gd name="connsiteY2" fmla="*/ 3535947 h 5345894"/>
              <a:gd name="connsiteX3" fmla="*/ 3528761 w 7559666"/>
              <a:gd name="connsiteY3" fmla="*/ 3510077 h 5345894"/>
              <a:gd name="connsiteX4" fmla="*/ 3542518 w 7559666"/>
              <a:gd name="connsiteY4" fmla="*/ 3510077 h 5345894"/>
              <a:gd name="connsiteX5" fmla="*/ 3553434 w 7559666"/>
              <a:gd name="connsiteY5" fmla="*/ 3512470 h 5345894"/>
              <a:gd name="connsiteX6" fmla="*/ 3560761 w 7559666"/>
              <a:gd name="connsiteY6" fmla="*/ 3519199 h 5345894"/>
              <a:gd name="connsiteX7" fmla="*/ 3563303 w 7559666"/>
              <a:gd name="connsiteY7" fmla="*/ 3529517 h 5345894"/>
              <a:gd name="connsiteX8" fmla="*/ 3560761 w 7559666"/>
              <a:gd name="connsiteY8" fmla="*/ 3539685 h 5345894"/>
              <a:gd name="connsiteX9" fmla="*/ 3553434 w 7559666"/>
              <a:gd name="connsiteY9" fmla="*/ 3546563 h 5345894"/>
              <a:gd name="connsiteX10" fmla="*/ 3542518 w 7559666"/>
              <a:gd name="connsiteY10" fmla="*/ 3548956 h 5345894"/>
              <a:gd name="connsiteX11" fmla="*/ 3528761 w 7559666"/>
              <a:gd name="connsiteY11" fmla="*/ 3548956 h 5345894"/>
              <a:gd name="connsiteX12" fmla="*/ 2955298 w 7559666"/>
              <a:gd name="connsiteY12" fmla="*/ 3510077 h 5345894"/>
              <a:gd name="connsiteX13" fmla="*/ 2969056 w 7559666"/>
              <a:gd name="connsiteY13" fmla="*/ 3510077 h 5345894"/>
              <a:gd name="connsiteX14" fmla="*/ 2980121 w 7559666"/>
              <a:gd name="connsiteY14" fmla="*/ 3512470 h 5345894"/>
              <a:gd name="connsiteX15" fmla="*/ 2987448 w 7559666"/>
              <a:gd name="connsiteY15" fmla="*/ 3519199 h 5345894"/>
              <a:gd name="connsiteX16" fmla="*/ 2989990 w 7559666"/>
              <a:gd name="connsiteY16" fmla="*/ 3529517 h 5345894"/>
              <a:gd name="connsiteX17" fmla="*/ 2987448 w 7559666"/>
              <a:gd name="connsiteY17" fmla="*/ 3539685 h 5345894"/>
              <a:gd name="connsiteX18" fmla="*/ 2980121 w 7559666"/>
              <a:gd name="connsiteY18" fmla="*/ 3546564 h 5345894"/>
              <a:gd name="connsiteX19" fmla="*/ 2969056 w 7559666"/>
              <a:gd name="connsiteY19" fmla="*/ 3548956 h 5345894"/>
              <a:gd name="connsiteX20" fmla="*/ 2955298 w 7559666"/>
              <a:gd name="connsiteY20" fmla="*/ 3548956 h 5345894"/>
              <a:gd name="connsiteX21" fmla="*/ 3672762 w 7559666"/>
              <a:gd name="connsiteY21" fmla="*/ 3501105 h 5345894"/>
              <a:gd name="connsiteX22" fmla="*/ 3672762 w 7559666"/>
              <a:gd name="connsiteY22" fmla="*/ 3510077 h 5345894"/>
              <a:gd name="connsiteX23" fmla="*/ 3691602 w 7559666"/>
              <a:gd name="connsiteY23" fmla="*/ 3510077 h 5345894"/>
              <a:gd name="connsiteX24" fmla="*/ 3691602 w 7559666"/>
              <a:gd name="connsiteY24" fmla="*/ 3557928 h 5345894"/>
              <a:gd name="connsiteX25" fmla="*/ 3702219 w 7559666"/>
              <a:gd name="connsiteY25" fmla="*/ 3557928 h 5345894"/>
              <a:gd name="connsiteX26" fmla="*/ 3702219 w 7559666"/>
              <a:gd name="connsiteY26" fmla="*/ 3510077 h 5345894"/>
              <a:gd name="connsiteX27" fmla="*/ 3720911 w 7559666"/>
              <a:gd name="connsiteY27" fmla="*/ 3510077 h 5345894"/>
              <a:gd name="connsiteX28" fmla="*/ 3720911 w 7559666"/>
              <a:gd name="connsiteY28" fmla="*/ 3501105 h 5345894"/>
              <a:gd name="connsiteX29" fmla="*/ 3619378 w 7559666"/>
              <a:gd name="connsiteY29" fmla="*/ 3501105 h 5345894"/>
              <a:gd name="connsiteX30" fmla="*/ 3619378 w 7559666"/>
              <a:gd name="connsiteY30" fmla="*/ 3557928 h 5345894"/>
              <a:gd name="connsiteX31" fmla="*/ 3629844 w 7559666"/>
              <a:gd name="connsiteY31" fmla="*/ 3557928 h 5345894"/>
              <a:gd name="connsiteX32" fmla="*/ 3629844 w 7559666"/>
              <a:gd name="connsiteY32" fmla="*/ 3501105 h 5345894"/>
              <a:gd name="connsiteX33" fmla="*/ 3518144 w 7559666"/>
              <a:gd name="connsiteY33" fmla="*/ 3501105 h 5345894"/>
              <a:gd name="connsiteX34" fmla="*/ 3518144 w 7559666"/>
              <a:gd name="connsiteY34" fmla="*/ 3558077 h 5345894"/>
              <a:gd name="connsiteX35" fmla="*/ 3542967 w 7559666"/>
              <a:gd name="connsiteY35" fmla="*/ 3558077 h 5345894"/>
              <a:gd name="connsiteX36" fmla="*/ 3559116 w 7559666"/>
              <a:gd name="connsiteY36" fmla="*/ 3554489 h 5345894"/>
              <a:gd name="connsiteX37" fmla="*/ 3570032 w 7559666"/>
              <a:gd name="connsiteY37" fmla="*/ 3544470 h 5345894"/>
              <a:gd name="connsiteX38" fmla="*/ 3573920 w 7559666"/>
              <a:gd name="connsiteY38" fmla="*/ 3529517 h 5345894"/>
              <a:gd name="connsiteX39" fmla="*/ 3570032 w 7559666"/>
              <a:gd name="connsiteY39" fmla="*/ 3514563 h 5345894"/>
              <a:gd name="connsiteX40" fmla="*/ 3559116 w 7559666"/>
              <a:gd name="connsiteY40" fmla="*/ 3504694 h 5345894"/>
              <a:gd name="connsiteX41" fmla="*/ 3542967 w 7559666"/>
              <a:gd name="connsiteY41" fmla="*/ 3501105 h 5345894"/>
              <a:gd name="connsiteX42" fmla="*/ 3418256 w 7559666"/>
              <a:gd name="connsiteY42" fmla="*/ 3501105 h 5345894"/>
              <a:gd name="connsiteX43" fmla="*/ 3418256 w 7559666"/>
              <a:gd name="connsiteY43" fmla="*/ 3533105 h 5345894"/>
              <a:gd name="connsiteX44" fmla="*/ 3424835 w 7559666"/>
              <a:gd name="connsiteY44" fmla="*/ 3552096 h 5345894"/>
              <a:gd name="connsiteX45" fmla="*/ 3425582 w 7559666"/>
              <a:gd name="connsiteY45" fmla="*/ 3552096 h 5345894"/>
              <a:gd name="connsiteX46" fmla="*/ 3462218 w 7559666"/>
              <a:gd name="connsiteY46" fmla="*/ 3552096 h 5345894"/>
              <a:gd name="connsiteX47" fmla="*/ 3468798 w 7559666"/>
              <a:gd name="connsiteY47" fmla="*/ 3533105 h 5345894"/>
              <a:gd name="connsiteX48" fmla="*/ 3468798 w 7559666"/>
              <a:gd name="connsiteY48" fmla="*/ 3501105 h 5345894"/>
              <a:gd name="connsiteX49" fmla="*/ 3458330 w 7559666"/>
              <a:gd name="connsiteY49" fmla="*/ 3501105 h 5345894"/>
              <a:gd name="connsiteX50" fmla="*/ 3458330 w 7559666"/>
              <a:gd name="connsiteY50" fmla="*/ 3532806 h 5345894"/>
              <a:gd name="connsiteX51" fmla="*/ 3443377 w 7559666"/>
              <a:gd name="connsiteY51" fmla="*/ 3549404 h 5345894"/>
              <a:gd name="connsiteX52" fmla="*/ 3428423 w 7559666"/>
              <a:gd name="connsiteY52" fmla="*/ 3532806 h 5345894"/>
              <a:gd name="connsiteX53" fmla="*/ 3428423 w 7559666"/>
              <a:gd name="connsiteY53" fmla="*/ 3501105 h 5345894"/>
              <a:gd name="connsiteX54" fmla="*/ 3341991 w 7559666"/>
              <a:gd name="connsiteY54" fmla="*/ 3501105 h 5345894"/>
              <a:gd name="connsiteX55" fmla="*/ 3316422 w 7559666"/>
              <a:gd name="connsiteY55" fmla="*/ 3557928 h 5345894"/>
              <a:gd name="connsiteX56" fmla="*/ 3327188 w 7559666"/>
              <a:gd name="connsiteY56" fmla="*/ 3557928 h 5345894"/>
              <a:gd name="connsiteX57" fmla="*/ 3332871 w 7559666"/>
              <a:gd name="connsiteY57" fmla="*/ 3544769 h 5345894"/>
              <a:gd name="connsiteX58" fmla="*/ 3361281 w 7559666"/>
              <a:gd name="connsiteY58" fmla="*/ 3544769 h 5345894"/>
              <a:gd name="connsiteX59" fmla="*/ 3366966 w 7559666"/>
              <a:gd name="connsiteY59" fmla="*/ 3557928 h 5345894"/>
              <a:gd name="connsiteX60" fmla="*/ 3377882 w 7559666"/>
              <a:gd name="connsiteY60" fmla="*/ 3557928 h 5345894"/>
              <a:gd name="connsiteX61" fmla="*/ 3352310 w 7559666"/>
              <a:gd name="connsiteY61" fmla="*/ 3501105 h 5345894"/>
              <a:gd name="connsiteX62" fmla="*/ 3193057 w 7559666"/>
              <a:gd name="connsiteY62" fmla="*/ 3501105 h 5345894"/>
              <a:gd name="connsiteX63" fmla="*/ 3193057 w 7559666"/>
              <a:gd name="connsiteY63" fmla="*/ 3557928 h 5345894"/>
              <a:gd name="connsiteX64" fmla="*/ 3233282 w 7559666"/>
              <a:gd name="connsiteY64" fmla="*/ 3557928 h 5345894"/>
              <a:gd name="connsiteX65" fmla="*/ 3233282 w 7559666"/>
              <a:gd name="connsiteY65" fmla="*/ 3548956 h 5345894"/>
              <a:gd name="connsiteX66" fmla="*/ 3203524 w 7559666"/>
              <a:gd name="connsiteY66" fmla="*/ 3548956 h 5345894"/>
              <a:gd name="connsiteX67" fmla="*/ 3203524 w 7559666"/>
              <a:gd name="connsiteY67" fmla="*/ 3501105 h 5345894"/>
              <a:gd name="connsiteX68" fmla="*/ 3046664 w 7559666"/>
              <a:gd name="connsiteY68" fmla="*/ 3501105 h 5345894"/>
              <a:gd name="connsiteX69" fmla="*/ 3046664 w 7559666"/>
              <a:gd name="connsiteY69" fmla="*/ 3557928 h 5345894"/>
              <a:gd name="connsiteX70" fmla="*/ 3089132 w 7559666"/>
              <a:gd name="connsiteY70" fmla="*/ 3557928 h 5345894"/>
              <a:gd name="connsiteX71" fmla="*/ 3089132 w 7559666"/>
              <a:gd name="connsiteY71" fmla="*/ 3549105 h 5345894"/>
              <a:gd name="connsiteX72" fmla="*/ 3057131 w 7559666"/>
              <a:gd name="connsiteY72" fmla="*/ 3549105 h 5345894"/>
              <a:gd name="connsiteX73" fmla="*/ 3057131 w 7559666"/>
              <a:gd name="connsiteY73" fmla="*/ 3533404 h 5345894"/>
              <a:gd name="connsiteX74" fmla="*/ 3084496 w 7559666"/>
              <a:gd name="connsiteY74" fmla="*/ 3533404 h 5345894"/>
              <a:gd name="connsiteX75" fmla="*/ 3084496 w 7559666"/>
              <a:gd name="connsiteY75" fmla="*/ 3524731 h 5345894"/>
              <a:gd name="connsiteX76" fmla="*/ 3057131 w 7559666"/>
              <a:gd name="connsiteY76" fmla="*/ 3524731 h 5345894"/>
              <a:gd name="connsiteX77" fmla="*/ 3057131 w 7559666"/>
              <a:gd name="connsiteY77" fmla="*/ 3509927 h 5345894"/>
              <a:gd name="connsiteX78" fmla="*/ 3088085 w 7559666"/>
              <a:gd name="connsiteY78" fmla="*/ 3509927 h 5345894"/>
              <a:gd name="connsiteX79" fmla="*/ 3088085 w 7559666"/>
              <a:gd name="connsiteY79" fmla="*/ 3501105 h 5345894"/>
              <a:gd name="connsiteX80" fmla="*/ 2944831 w 7559666"/>
              <a:gd name="connsiteY80" fmla="*/ 3501105 h 5345894"/>
              <a:gd name="connsiteX81" fmla="*/ 2944831 w 7559666"/>
              <a:gd name="connsiteY81" fmla="*/ 3558078 h 5345894"/>
              <a:gd name="connsiteX82" fmla="*/ 2969654 w 7559666"/>
              <a:gd name="connsiteY82" fmla="*/ 3558078 h 5345894"/>
              <a:gd name="connsiteX83" fmla="*/ 2985654 w 7559666"/>
              <a:gd name="connsiteY83" fmla="*/ 3554489 h 5345894"/>
              <a:gd name="connsiteX84" fmla="*/ 2996718 w 7559666"/>
              <a:gd name="connsiteY84" fmla="*/ 3544470 h 5345894"/>
              <a:gd name="connsiteX85" fmla="*/ 3000607 w 7559666"/>
              <a:gd name="connsiteY85" fmla="*/ 3529517 h 5345894"/>
              <a:gd name="connsiteX86" fmla="*/ 2996718 w 7559666"/>
              <a:gd name="connsiteY86" fmla="*/ 3514563 h 5345894"/>
              <a:gd name="connsiteX87" fmla="*/ 2985654 w 7559666"/>
              <a:gd name="connsiteY87" fmla="*/ 3504694 h 5345894"/>
              <a:gd name="connsiteX88" fmla="*/ 2969654 w 7559666"/>
              <a:gd name="connsiteY88" fmla="*/ 3501105 h 5345894"/>
              <a:gd name="connsiteX89" fmla="*/ 2796643 w 7559666"/>
              <a:gd name="connsiteY89" fmla="*/ 3501105 h 5345894"/>
              <a:gd name="connsiteX90" fmla="*/ 2796643 w 7559666"/>
              <a:gd name="connsiteY90" fmla="*/ 3510077 h 5345894"/>
              <a:gd name="connsiteX91" fmla="*/ 2815335 w 7559666"/>
              <a:gd name="connsiteY91" fmla="*/ 3510077 h 5345894"/>
              <a:gd name="connsiteX92" fmla="*/ 2815335 w 7559666"/>
              <a:gd name="connsiteY92" fmla="*/ 3557928 h 5345894"/>
              <a:gd name="connsiteX93" fmla="*/ 2825952 w 7559666"/>
              <a:gd name="connsiteY93" fmla="*/ 3557928 h 5345894"/>
              <a:gd name="connsiteX94" fmla="*/ 2825952 w 7559666"/>
              <a:gd name="connsiteY94" fmla="*/ 3510077 h 5345894"/>
              <a:gd name="connsiteX95" fmla="*/ 2844793 w 7559666"/>
              <a:gd name="connsiteY95" fmla="*/ 3510077 h 5345894"/>
              <a:gd name="connsiteX96" fmla="*/ 2844793 w 7559666"/>
              <a:gd name="connsiteY96" fmla="*/ 3501105 h 5345894"/>
              <a:gd name="connsiteX97" fmla="*/ 2714698 w 7559666"/>
              <a:gd name="connsiteY97" fmla="*/ 3501105 h 5345894"/>
              <a:gd name="connsiteX98" fmla="*/ 2714698 w 7559666"/>
              <a:gd name="connsiteY98" fmla="*/ 3557928 h 5345894"/>
              <a:gd name="connsiteX99" fmla="*/ 2757315 w 7559666"/>
              <a:gd name="connsiteY99" fmla="*/ 3557928 h 5345894"/>
              <a:gd name="connsiteX100" fmla="*/ 2757315 w 7559666"/>
              <a:gd name="connsiteY100" fmla="*/ 3549105 h 5345894"/>
              <a:gd name="connsiteX101" fmla="*/ 2725315 w 7559666"/>
              <a:gd name="connsiteY101" fmla="*/ 3549105 h 5345894"/>
              <a:gd name="connsiteX102" fmla="*/ 2725315 w 7559666"/>
              <a:gd name="connsiteY102" fmla="*/ 3533404 h 5345894"/>
              <a:gd name="connsiteX103" fmla="*/ 2752680 w 7559666"/>
              <a:gd name="connsiteY103" fmla="*/ 3533404 h 5345894"/>
              <a:gd name="connsiteX104" fmla="*/ 2752680 w 7559666"/>
              <a:gd name="connsiteY104" fmla="*/ 3524731 h 5345894"/>
              <a:gd name="connsiteX105" fmla="*/ 2725315 w 7559666"/>
              <a:gd name="connsiteY105" fmla="*/ 3524731 h 5345894"/>
              <a:gd name="connsiteX106" fmla="*/ 2725315 w 7559666"/>
              <a:gd name="connsiteY106" fmla="*/ 3509927 h 5345894"/>
              <a:gd name="connsiteX107" fmla="*/ 2756119 w 7559666"/>
              <a:gd name="connsiteY107" fmla="*/ 3509927 h 5345894"/>
              <a:gd name="connsiteX108" fmla="*/ 2756119 w 7559666"/>
              <a:gd name="connsiteY108" fmla="*/ 3501105 h 5345894"/>
              <a:gd name="connsiteX109" fmla="*/ 3275451 w 7559666"/>
              <a:gd name="connsiteY109" fmla="*/ 3497218 h 5345894"/>
              <a:gd name="connsiteX110" fmla="*/ 3270666 w 7559666"/>
              <a:gd name="connsiteY110" fmla="*/ 3499012 h 5345894"/>
              <a:gd name="connsiteX111" fmla="*/ 3268872 w 7559666"/>
              <a:gd name="connsiteY111" fmla="*/ 3503797 h 5345894"/>
              <a:gd name="connsiteX112" fmla="*/ 3269917 w 7559666"/>
              <a:gd name="connsiteY112" fmla="*/ 3507536 h 5345894"/>
              <a:gd name="connsiteX113" fmla="*/ 3272610 w 7559666"/>
              <a:gd name="connsiteY113" fmla="*/ 3509779 h 5345894"/>
              <a:gd name="connsiteX114" fmla="*/ 3269469 w 7559666"/>
              <a:gd name="connsiteY114" fmla="*/ 3522340 h 5345894"/>
              <a:gd name="connsiteX115" fmla="*/ 3276048 w 7559666"/>
              <a:gd name="connsiteY115" fmla="*/ 3522340 h 5345894"/>
              <a:gd name="connsiteX116" fmla="*/ 3280235 w 7559666"/>
              <a:gd name="connsiteY116" fmla="*/ 3510825 h 5345894"/>
              <a:gd name="connsiteX117" fmla="*/ 3281581 w 7559666"/>
              <a:gd name="connsiteY117" fmla="*/ 3506638 h 5345894"/>
              <a:gd name="connsiteX118" fmla="*/ 3281581 w 7559666"/>
              <a:gd name="connsiteY118" fmla="*/ 3503797 h 5345894"/>
              <a:gd name="connsiteX119" fmla="*/ 3279637 w 7559666"/>
              <a:gd name="connsiteY119" fmla="*/ 3499012 h 5345894"/>
              <a:gd name="connsiteX120" fmla="*/ 3280087 w 7559666"/>
              <a:gd name="connsiteY120" fmla="*/ 3499012 h 5345894"/>
              <a:gd name="connsiteX121" fmla="*/ 3275451 w 7559666"/>
              <a:gd name="connsiteY121" fmla="*/ 3497218 h 5345894"/>
              <a:gd name="connsiteX122" fmla="*/ 4001735 w 7559666"/>
              <a:gd name="connsiteY122" fmla="*/ 3414375 h 5345894"/>
              <a:gd name="connsiteX123" fmla="*/ 4012502 w 7559666"/>
              <a:gd name="connsiteY123" fmla="*/ 3439198 h 5345894"/>
              <a:gd name="connsiteX124" fmla="*/ 3991119 w 7559666"/>
              <a:gd name="connsiteY124" fmla="*/ 3439198 h 5345894"/>
              <a:gd name="connsiteX125" fmla="*/ 3793583 w 7559666"/>
              <a:gd name="connsiteY125" fmla="*/ 3414375 h 5345894"/>
              <a:gd name="connsiteX126" fmla="*/ 3804200 w 7559666"/>
              <a:gd name="connsiteY126" fmla="*/ 3439198 h 5345894"/>
              <a:gd name="connsiteX127" fmla="*/ 3782967 w 7559666"/>
              <a:gd name="connsiteY127" fmla="*/ 3439198 h 5345894"/>
              <a:gd name="connsiteX128" fmla="*/ 3566895 w 7559666"/>
              <a:gd name="connsiteY128" fmla="*/ 3414375 h 5345894"/>
              <a:gd name="connsiteX129" fmla="*/ 3577661 w 7559666"/>
              <a:gd name="connsiteY129" fmla="*/ 3439198 h 5345894"/>
              <a:gd name="connsiteX130" fmla="*/ 3556278 w 7559666"/>
              <a:gd name="connsiteY130" fmla="*/ 3439198 h 5345894"/>
              <a:gd name="connsiteX131" fmla="*/ 4575348 w 7559666"/>
              <a:gd name="connsiteY131" fmla="*/ 3412880 h 5345894"/>
              <a:gd name="connsiteX132" fmla="*/ 4587610 w 7559666"/>
              <a:gd name="connsiteY132" fmla="*/ 3412880 h 5345894"/>
              <a:gd name="connsiteX133" fmla="*/ 4598078 w 7559666"/>
              <a:gd name="connsiteY133" fmla="*/ 3415871 h 5345894"/>
              <a:gd name="connsiteX134" fmla="*/ 4601666 w 7559666"/>
              <a:gd name="connsiteY134" fmla="*/ 3424096 h 5345894"/>
              <a:gd name="connsiteX135" fmla="*/ 4598078 w 7559666"/>
              <a:gd name="connsiteY135" fmla="*/ 3432469 h 5345894"/>
              <a:gd name="connsiteX136" fmla="*/ 4587610 w 7559666"/>
              <a:gd name="connsiteY136" fmla="*/ 3435460 h 5345894"/>
              <a:gd name="connsiteX137" fmla="*/ 4575348 w 7559666"/>
              <a:gd name="connsiteY137" fmla="*/ 3435460 h 5345894"/>
              <a:gd name="connsiteX138" fmla="*/ 3642557 w 7559666"/>
              <a:gd name="connsiteY138" fmla="*/ 3412731 h 5345894"/>
              <a:gd name="connsiteX139" fmla="*/ 3654819 w 7559666"/>
              <a:gd name="connsiteY139" fmla="*/ 3412731 h 5345894"/>
              <a:gd name="connsiteX140" fmla="*/ 3665286 w 7559666"/>
              <a:gd name="connsiteY140" fmla="*/ 3415721 h 5345894"/>
              <a:gd name="connsiteX141" fmla="*/ 3668875 w 7559666"/>
              <a:gd name="connsiteY141" fmla="*/ 3424095 h 5345894"/>
              <a:gd name="connsiteX142" fmla="*/ 3665286 w 7559666"/>
              <a:gd name="connsiteY142" fmla="*/ 3432469 h 5345894"/>
              <a:gd name="connsiteX143" fmla="*/ 3654819 w 7559666"/>
              <a:gd name="connsiteY143" fmla="*/ 3435310 h 5345894"/>
              <a:gd name="connsiteX144" fmla="*/ 3642557 w 7559666"/>
              <a:gd name="connsiteY144" fmla="*/ 3435310 h 5345894"/>
              <a:gd name="connsiteX145" fmla="*/ 2725617 w 7559666"/>
              <a:gd name="connsiteY145" fmla="*/ 3412432 h 5345894"/>
              <a:gd name="connsiteX146" fmla="*/ 2739075 w 7559666"/>
              <a:gd name="connsiteY146" fmla="*/ 3412432 h 5345894"/>
              <a:gd name="connsiteX147" fmla="*/ 2749991 w 7559666"/>
              <a:gd name="connsiteY147" fmla="*/ 3414824 h 5345894"/>
              <a:gd name="connsiteX148" fmla="*/ 2757318 w 7559666"/>
              <a:gd name="connsiteY148" fmla="*/ 3421703 h 5345894"/>
              <a:gd name="connsiteX149" fmla="*/ 2759860 w 7559666"/>
              <a:gd name="connsiteY149" fmla="*/ 3431871 h 5345894"/>
              <a:gd name="connsiteX150" fmla="*/ 2757318 w 7559666"/>
              <a:gd name="connsiteY150" fmla="*/ 3442189 h 5345894"/>
              <a:gd name="connsiteX151" fmla="*/ 2749991 w 7559666"/>
              <a:gd name="connsiteY151" fmla="*/ 3448918 h 5345894"/>
              <a:gd name="connsiteX152" fmla="*/ 2739075 w 7559666"/>
              <a:gd name="connsiteY152" fmla="*/ 3451311 h 5345894"/>
              <a:gd name="connsiteX153" fmla="*/ 2725617 w 7559666"/>
              <a:gd name="connsiteY153" fmla="*/ 3451311 h 5345894"/>
              <a:gd name="connsiteX154" fmla="*/ 4391870 w 7559666"/>
              <a:gd name="connsiteY154" fmla="*/ 3412133 h 5345894"/>
              <a:gd name="connsiteX155" fmla="*/ 4402038 w 7559666"/>
              <a:gd name="connsiteY155" fmla="*/ 3414675 h 5345894"/>
              <a:gd name="connsiteX156" fmla="*/ 4409215 w 7559666"/>
              <a:gd name="connsiteY156" fmla="*/ 3421853 h 5345894"/>
              <a:gd name="connsiteX157" fmla="*/ 4411758 w 7559666"/>
              <a:gd name="connsiteY157" fmla="*/ 3432021 h 5345894"/>
              <a:gd name="connsiteX158" fmla="*/ 4409215 w 7559666"/>
              <a:gd name="connsiteY158" fmla="*/ 3442339 h 5345894"/>
              <a:gd name="connsiteX159" fmla="*/ 4402038 w 7559666"/>
              <a:gd name="connsiteY159" fmla="*/ 3449516 h 5345894"/>
              <a:gd name="connsiteX160" fmla="*/ 4391870 w 7559666"/>
              <a:gd name="connsiteY160" fmla="*/ 3452059 h 5345894"/>
              <a:gd name="connsiteX161" fmla="*/ 4381552 w 7559666"/>
              <a:gd name="connsiteY161" fmla="*/ 3449516 h 5345894"/>
              <a:gd name="connsiteX162" fmla="*/ 4374523 w 7559666"/>
              <a:gd name="connsiteY162" fmla="*/ 3442339 h 5345894"/>
              <a:gd name="connsiteX163" fmla="*/ 4371832 w 7559666"/>
              <a:gd name="connsiteY163" fmla="*/ 3432021 h 5345894"/>
              <a:gd name="connsiteX164" fmla="*/ 4374523 w 7559666"/>
              <a:gd name="connsiteY164" fmla="*/ 3421853 h 5345894"/>
              <a:gd name="connsiteX165" fmla="*/ 4381552 w 7559666"/>
              <a:gd name="connsiteY165" fmla="*/ 3414675 h 5345894"/>
              <a:gd name="connsiteX166" fmla="*/ 4391870 w 7559666"/>
              <a:gd name="connsiteY166" fmla="*/ 3412133 h 5345894"/>
              <a:gd name="connsiteX167" fmla="*/ 3058480 w 7559666"/>
              <a:gd name="connsiteY167" fmla="*/ 3412133 h 5345894"/>
              <a:gd name="connsiteX168" fmla="*/ 3068649 w 7559666"/>
              <a:gd name="connsiteY168" fmla="*/ 3414675 h 5345894"/>
              <a:gd name="connsiteX169" fmla="*/ 3075826 w 7559666"/>
              <a:gd name="connsiteY169" fmla="*/ 3421853 h 5345894"/>
              <a:gd name="connsiteX170" fmla="*/ 3078368 w 7559666"/>
              <a:gd name="connsiteY170" fmla="*/ 3432021 h 5345894"/>
              <a:gd name="connsiteX171" fmla="*/ 3075826 w 7559666"/>
              <a:gd name="connsiteY171" fmla="*/ 3442339 h 5345894"/>
              <a:gd name="connsiteX172" fmla="*/ 3068649 w 7559666"/>
              <a:gd name="connsiteY172" fmla="*/ 3449516 h 5345894"/>
              <a:gd name="connsiteX173" fmla="*/ 3058480 w 7559666"/>
              <a:gd name="connsiteY173" fmla="*/ 3452059 h 5345894"/>
              <a:gd name="connsiteX174" fmla="*/ 3048162 w 7559666"/>
              <a:gd name="connsiteY174" fmla="*/ 3449516 h 5345894"/>
              <a:gd name="connsiteX175" fmla="*/ 3041133 w 7559666"/>
              <a:gd name="connsiteY175" fmla="*/ 3442339 h 5345894"/>
              <a:gd name="connsiteX176" fmla="*/ 3038443 w 7559666"/>
              <a:gd name="connsiteY176" fmla="*/ 3432021 h 5345894"/>
              <a:gd name="connsiteX177" fmla="*/ 3041133 w 7559666"/>
              <a:gd name="connsiteY177" fmla="*/ 3421853 h 5345894"/>
              <a:gd name="connsiteX178" fmla="*/ 3048162 w 7559666"/>
              <a:gd name="connsiteY178" fmla="*/ 3414675 h 5345894"/>
              <a:gd name="connsiteX179" fmla="*/ 3058480 w 7559666"/>
              <a:gd name="connsiteY179" fmla="*/ 3412133 h 5345894"/>
              <a:gd name="connsiteX180" fmla="*/ 4376168 w 7559666"/>
              <a:gd name="connsiteY180" fmla="*/ 3406750 h 5345894"/>
              <a:gd name="connsiteX181" fmla="*/ 4364729 w 7559666"/>
              <a:gd name="connsiteY181" fmla="*/ 3418189 h 5345894"/>
              <a:gd name="connsiteX182" fmla="*/ 4376168 w 7559666"/>
              <a:gd name="connsiteY182" fmla="*/ 3457591 h 5345894"/>
              <a:gd name="connsiteX183" fmla="*/ 4376168 w 7559666"/>
              <a:gd name="connsiteY183" fmla="*/ 3457442 h 5345894"/>
              <a:gd name="connsiteX184" fmla="*/ 4407421 w 7559666"/>
              <a:gd name="connsiteY184" fmla="*/ 3457442 h 5345894"/>
              <a:gd name="connsiteX185" fmla="*/ 4418337 w 7559666"/>
              <a:gd name="connsiteY185" fmla="*/ 3447124 h 5345894"/>
              <a:gd name="connsiteX186" fmla="*/ 4422374 w 7559666"/>
              <a:gd name="connsiteY186" fmla="*/ 3432171 h 5345894"/>
              <a:gd name="connsiteX187" fmla="*/ 4418337 w 7559666"/>
              <a:gd name="connsiteY187" fmla="*/ 3417217 h 5345894"/>
              <a:gd name="connsiteX188" fmla="*/ 4407421 w 7559666"/>
              <a:gd name="connsiteY188" fmla="*/ 3406750 h 5345894"/>
              <a:gd name="connsiteX189" fmla="*/ 4376168 w 7559666"/>
              <a:gd name="connsiteY189" fmla="*/ 3406750 h 5345894"/>
              <a:gd name="connsiteX190" fmla="*/ 3042778 w 7559666"/>
              <a:gd name="connsiteY190" fmla="*/ 3406750 h 5345894"/>
              <a:gd name="connsiteX191" fmla="*/ 3031335 w 7559666"/>
              <a:gd name="connsiteY191" fmla="*/ 3418189 h 5345894"/>
              <a:gd name="connsiteX192" fmla="*/ 3042778 w 7559666"/>
              <a:gd name="connsiteY192" fmla="*/ 3457591 h 5345894"/>
              <a:gd name="connsiteX193" fmla="*/ 3042778 w 7559666"/>
              <a:gd name="connsiteY193" fmla="*/ 3457442 h 5345894"/>
              <a:gd name="connsiteX194" fmla="*/ 3074031 w 7559666"/>
              <a:gd name="connsiteY194" fmla="*/ 3457442 h 5345894"/>
              <a:gd name="connsiteX195" fmla="*/ 3084948 w 7559666"/>
              <a:gd name="connsiteY195" fmla="*/ 3447124 h 5345894"/>
              <a:gd name="connsiteX196" fmla="*/ 3088984 w 7559666"/>
              <a:gd name="connsiteY196" fmla="*/ 3432171 h 5345894"/>
              <a:gd name="connsiteX197" fmla="*/ 3084948 w 7559666"/>
              <a:gd name="connsiteY197" fmla="*/ 3417217 h 5345894"/>
              <a:gd name="connsiteX198" fmla="*/ 3074031 w 7559666"/>
              <a:gd name="connsiteY198" fmla="*/ 3406750 h 5345894"/>
              <a:gd name="connsiteX199" fmla="*/ 3042778 w 7559666"/>
              <a:gd name="connsiteY199" fmla="*/ 3406750 h 5345894"/>
              <a:gd name="connsiteX200" fmla="*/ 2808160 w 7559666"/>
              <a:gd name="connsiteY200" fmla="*/ 3404357 h 5345894"/>
              <a:gd name="connsiteX201" fmla="*/ 2808160 w 7559666"/>
              <a:gd name="connsiteY201" fmla="*/ 3436357 h 5345894"/>
              <a:gd name="connsiteX202" fmla="*/ 2815337 w 7559666"/>
              <a:gd name="connsiteY202" fmla="*/ 3454750 h 5345894"/>
              <a:gd name="connsiteX203" fmla="*/ 2834029 w 7559666"/>
              <a:gd name="connsiteY203" fmla="*/ 3461778 h 5345894"/>
              <a:gd name="connsiteX204" fmla="*/ 2852272 w 7559666"/>
              <a:gd name="connsiteY204" fmla="*/ 3455199 h 5345894"/>
              <a:gd name="connsiteX205" fmla="*/ 2858852 w 7559666"/>
              <a:gd name="connsiteY205" fmla="*/ 3436357 h 5345894"/>
              <a:gd name="connsiteX206" fmla="*/ 2858852 w 7559666"/>
              <a:gd name="connsiteY206" fmla="*/ 3404357 h 5345894"/>
              <a:gd name="connsiteX207" fmla="*/ 2848534 w 7559666"/>
              <a:gd name="connsiteY207" fmla="*/ 3404357 h 5345894"/>
              <a:gd name="connsiteX208" fmla="*/ 2848534 w 7559666"/>
              <a:gd name="connsiteY208" fmla="*/ 3435909 h 5345894"/>
              <a:gd name="connsiteX209" fmla="*/ 2833581 w 7559666"/>
              <a:gd name="connsiteY209" fmla="*/ 3452656 h 5345894"/>
              <a:gd name="connsiteX210" fmla="*/ 2818627 w 7559666"/>
              <a:gd name="connsiteY210" fmla="*/ 3435909 h 5345894"/>
              <a:gd name="connsiteX211" fmla="*/ 2818627 w 7559666"/>
              <a:gd name="connsiteY211" fmla="*/ 3404357 h 5345894"/>
              <a:gd name="connsiteX212" fmla="*/ 4723836 w 7559666"/>
              <a:gd name="connsiteY212" fmla="*/ 3403908 h 5345894"/>
              <a:gd name="connsiteX213" fmla="*/ 4723836 w 7559666"/>
              <a:gd name="connsiteY213" fmla="*/ 3460581 h 5345894"/>
              <a:gd name="connsiteX214" fmla="*/ 4766453 w 7559666"/>
              <a:gd name="connsiteY214" fmla="*/ 3460581 h 5345894"/>
              <a:gd name="connsiteX215" fmla="*/ 4766453 w 7559666"/>
              <a:gd name="connsiteY215" fmla="*/ 3451759 h 5345894"/>
              <a:gd name="connsiteX216" fmla="*/ 4734453 w 7559666"/>
              <a:gd name="connsiteY216" fmla="*/ 3451759 h 5345894"/>
              <a:gd name="connsiteX217" fmla="*/ 4734453 w 7559666"/>
              <a:gd name="connsiteY217" fmla="*/ 3436058 h 5345894"/>
              <a:gd name="connsiteX218" fmla="*/ 4761818 w 7559666"/>
              <a:gd name="connsiteY218" fmla="*/ 3436058 h 5345894"/>
              <a:gd name="connsiteX219" fmla="*/ 4761818 w 7559666"/>
              <a:gd name="connsiteY219" fmla="*/ 3427385 h 5345894"/>
              <a:gd name="connsiteX220" fmla="*/ 4734453 w 7559666"/>
              <a:gd name="connsiteY220" fmla="*/ 3427385 h 5345894"/>
              <a:gd name="connsiteX221" fmla="*/ 4734453 w 7559666"/>
              <a:gd name="connsiteY221" fmla="*/ 3412730 h 5345894"/>
              <a:gd name="connsiteX222" fmla="*/ 4765257 w 7559666"/>
              <a:gd name="connsiteY222" fmla="*/ 3412730 h 5345894"/>
              <a:gd name="connsiteX223" fmla="*/ 4765257 w 7559666"/>
              <a:gd name="connsiteY223" fmla="*/ 3403908 h 5345894"/>
              <a:gd name="connsiteX224" fmla="*/ 4640844 w 7559666"/>
              <a:gd name="connsiteY224" fmla="*/ 3403908 h 5345894"/>
              <a:gd name="connsiteX225" fmla="*/ 4640844 w 7559666"/>
              <a:gd name="connsiteY225" fmla="*/ 3412730 h 5345894"/>
              <a:gd name="connsiteX226" fmla="*/ 4659685 w 7559666"/>
              <a:gd name="connsiteY226" fmla="*/ 3412730 h 5345894"/>
              <a:gd name="connsiteX227" fmla="*/ 4659685 w 7559666"/>
              <a:gd name="connsiteY227" fmla="*/ 3460581 h 5345894"/>
              <a:gd name="connsiteX228" fmla="*/ 4670153 w 7559666"/>
              <a:gd name="connsiteY228" fmla="*/ 3460581 h 5345894"/>
              <a:gd name="connsiteX229" fmla="*/ 4670153 w 7559666"/>
              <a:gd name="connsiteY229" fmla="*/ 3412730 h 5345894"/>
              <a:gd name="connsiteX230" fmla="*/ 4688994 w 7559666"/>
              <a:gd name="connsiteY230" fmla="*/ 3412730 h 5345894"/>
              <a:gd name="connsiteX231" fmla="*/ 4688994 w 7559666"/>
              <a:gd name="connsiteY231" fmla="*/ 3403908 h 5345894"/>
              <a:gd name="connsiteX232" fmla="*/ 4564881 w 7559666"/>
              <a:gd name="connsiteY232" fmla="*/ 3403908 h 5345894"/>
              <a:gd name="connsiteX233" fmla="*/ 4564881 w 7559666"/>
              <a:gd name="connsiteY233" fmla="*/ 3460731 h 5345894"/>
              <a:gd name="connsiteX234" fmla="*/ 4575348 w 7559666"/>
              <a:gd name="connsiteY234" fmla="*/ 3460731 h 5345894"/>
              <a:gd name="connsiteX235" fmla="*/ 4575348 w 7559666"/>
              <a:gd name="connsiteY235" fmla="*/ 3444283 h 5345894"/>
              <a:gd name="connsiteX236" fmla="*/ 4588208 w 7559666"/>
              <a:gd name="connsiteY236" fmla="*/ 3444283 h 5345894"/>
              <a:gd name="connsiteX237" fmla="*/ 4601068 w 7559666"/>
              <a:gd name="connsiteY237" fmla="*/ 3441890 h 5345894"/>
              <a:gd name="connsiteX238" fmla="*/ 4609442 w 7559666"/>
              <a:gd name="connsiteY238" fmla="*/ 3434862 h 5345894"/>
              <a:gd name="connsiteX239" fmla="*/ 4612283 w 7559666"/>
              <a:gd name="connsiteY239" fmla="*/ 3424096 h 5345894"/>
              <a:gd name="connsiteX240" fmla="*/ 4609442 w 7559666"/>
              <a:gd name="connsiteY240" fmla="*/ 3413329 h 5345894"/>
              <a:gd name="connsiteX241" fmla="*/ 4601068 w 7559666"/>
              <a:gd name="connsiteY241" fmla="*/ 3406451 h 5345894"/>
              <a:gd name="connsiteX242" fmla="*/ 4588208 w 7559666"/>
              <a:gd name="connsiteY242" fmla="*/ 3403908 h 5345894"/>
              <a:gd name="connsiteX243" fmla="*/ 4460506 w 7559666"/>
              <a:gd name="connsiteY243" fmla="*/ 3403908 h 5345894"/>
              <a:gd name="connsiteX244" fmla="*/ 4460506 w 7559666"/>
              <a:gd name="connsiteY244" fmla="*/ 3460581 h 5345894"/>
              <a:gd name="connsiteX245" fmla="*/ 4470525 w 7559666"/>
              <a:gd name="connsiteY245" fmla="*/ 3460581 h 5345894"/>
              <a:gd name="connsiteX246" fmla="*/ 4470525 w 7559666"/>
              <a:gd name="connsiteY246" fmla="*/ 3423497 h 5345894"/>
              <a:gd name="connsiteX247" fmla="*/ 4489217 w 7559666"/>
              <a:gd name="connsiteY247" fmla="*/ 3454152 h 5345894"/>
              <a:gd name="connsiteX248" fmla="*/ 4493852 w 7559666"/>
              <a:gd name="connsiteY248" fmla="*/ 3454152 h 5345894"/>
              <a:gd name="connsiteX249" fmla="*/ 4512544 w 7559666"/>
              <a:gd name="connsiteY249" fmla="*/ 3423048 h 5345894"/>
              <a:gd name="connsiteX250" fmla="*/ 4512544 w 7559666"/>
              <a:gd name="connsiteY250" fmla="*/ 3460581 h 5345894"/>
              <a:gd name="connsiteX251" fmla="*/ 4522563 w 7559666"/>
              <a:gd name="connsiteY251" fmla="*/ 3460581 h 5345894"/>
              <a:gd name="connsiteX252" fmla="*/ 4522563 w 7559666"/>
              <a:gd name="connsiteY252" fmla="*/ 3403908 h 5345894"/>
              <a:gd name="connsiteX253" fmla="*/ 4513740 w 7559666"/>
              <a:gd name="connsiteY253" fmla="*/ 3403908 h 5345894"/>
              <a:gd name="connsiteX254" fmla="*/ 4491759 w 7559666"/>
              <a:gd name="connsiteY254" fmla="*/ 3441441 h 5345894"/>
              <a:gd name="connsiteX255" fmla="*/ 4469179 w 7559666"/>
              <a:gd name="connsiteY255" fmla="*/ 3403908 h 5345894"/>
              <a:gd name="connsiteX256" fmla="*/ 4149923 w 7559666"/>
              <a:gd name="connsiteY256" fmla="*/ 3403908 h 5345894"/>
              <a:gd name="connsiteX257" fmla="*/ 4169811 w 7559666"/>
              <a:gd name="connsiteY257" fmla="*/ 3431721 h 5345894"/>
              <a:gd name="connsiteX258" fmla="*/ 4148727 w 7559666"/>
              <a:gd name="connsiteY258" fmla="*/ 3460581 h 5345894"/>
              <a:gd name="connsiteX259" fmla="*/ 4160690 w 7559666"/>
              <a:gd name="connsiteY259" fmla="*/ 3460581 h 5345894"/>
              <a:gd name="connsiteX260" fmla="*/ 4175942 w 7559666"/>
              <a:gd name="connsiteY260" fmla="*/ 3439049 h 5345894"/>
              <a:gd name="connsiteX261" fmla="*/ 4191344 w 7559666"/>
              <a:gd name="connsiteY261" fmla="*/ 3460581 h 5345894"/>
              <a:gd name="connsiteX262" fmla="*/ 4203457 w 7559666"/>
              <a:gd name="connsiteY262" fmla="*/ 3460581 h 5345894"/>
              <a:gd name="connsiteX263" fmla="*/ 4182223 w 7559666"/>
              <a:gd name="connsiteY263" fmla="*/ 3431273 h 5345894"/>
              <a:gd name="connsiteX264" fmla="*/ 4202111 w 7559666"/>
              <a:gd name="connsiteY264" fmla="*/ 3403908 h 5345894"/>
              <a:gd name="connsiteX265" fmla="*/ 4190597 w 7559666"/>
              <a:gd name="connsiteY265" fmla="*/ 3403908 h 5345894"/>
              <a:gd name="connsiteX266" fmla="*/ 4176241 w 7559666"/>
              <a:gd name="connsiteY266" fmla="*/ 3423946 h 5345894"/>
              <a:gd name="connsiteX267" fmla="*/ 4161737 w 7559666"/>
              <a:gd name="connsiteY267" fmla="*/ 3403908 h 5345894"/>
              <a:gd name="connsiteX268" fmla="*/ 4064838 w 7559666"/>
              <a:gd name="connsiteY268" fmla="*/ 3403908 h 5345894"/>
              <a:gd name="connsiteX269" fmla="*/ 4064838 w 7559666"/>
              <a:gd name="connsiteY269" fmla="*/ 3435908 h 5345894"/>
              <a:gd name="connsiteX270" fmla="*/ 4071418 w 7559666"/>
              <a:gd name="connsiteY270" fmla="*/ 3454750 h 5345894"/>
              <a:gd name="connsiteX271" fmla="*/ 4072614 w 7559666"/>
              <a:gd name="connsiteY271" fmla="*/ 3455198 h 5345894"/>
              <a:gd name="connsiteX272" fmla="*/ 4091007 w 7559666"/>
              <a:gd name="connsiteY272" fmla="*/ 3461778 h 5345894"/>
              <a:gd name="connsiteX273" fmla="*/ 4109250 w 7559666"/>
              <a:gd name="connsiteY273" fmla="*/ 3455198 h 5345894"/>
              <a:gd name="connsiteX274" fmla="*/ 4115829 w 7559666"/>
              <a:gd name="connsiteY274" fmla="*/ 3436357 h 5345894"/>
              <a:gd name="connsiteX275" fmla="*/ 4115829 w 7559666"/>
              <a:gd name="connsiteY275" fmla="*/ 3403908 h 5345894"/>
              <a:gd name="connsiteX276" fmla="*/ 4105362 w 7559666"/>
              <a:gd name="connsiteY276" fmla="*/ 3403908 h 5345894"/>
              <a:gd name="connsiteX277" fmla="*/ 4105362 w 7559666"/>
              <a:gd name="connsiteY277" fmla="*/ 3435460 h 5345894"/>
              <a:gd name="connsiteX278" fmla="*/ 4090408 w 7559666"/>
              <a:gd name="connsiteY278" fmla="*/ 3452207 h 5345894"/>
              <a:gd name="connsiteX279" fmla="*/ 4075455 w 7559666"/>
              <a:gd name="connsiteY279" fmla="*/ 3435460 h 5345894"/>
              <a:gd name="connsiteX280" fmla="*/ 4075455 w 7559666"/>
              <a:gd name="connsiteY280" fmla="*/ 3403908 h 5345894"/>
              <a:gd name="connsiteX281" fmla="*/ 3996651 w 7559666"/>
              <a:gd name="connsiteY281" fmla="*/ 3403908 h 5345894"/>
              <a:gd name="connsiteX282" fmla="*/ 3971081 w 7559666"/>
              <a:gd name="connsiteY282" fmla="*/ 3460581 h 5345894"/>
              <a:gd name="connsiteX283" fmla="*/ 3981997 w 7559666"/>
              <a:gd name="connsiteY283" fmla="*/ 3460581 h 5345894"/>
              <a:gd name="connsiteX284" fmla="*/ 3987530 w 7559666"/>
              <a:gd name="connsiteY284" fmla="*/ 3447422 h 5345894"/>
              <a:gd name="connsiteX285" fmla="*/ 4015941 w 7559666"/>
              <a:gd name="connsiteY285" fmla="*/ 3447422 h 5345894"/>
              <a:gd name="connsiteX286" fmla="*/ 4021623 w 7559666"/>
              <a:gd name="connsiteY286" fmla="*/ 3460581 h 5345894"/>
              <a:gd name="connsiteX287" fmla="*/ 4032689 w 7559666"/>
              <a:gd name="connsiteY287" fmla="*/ 3460581 h 5345894"/>
              <a:gd name="connsiteX288" fmla="*/ 4006969 w 7559666"/>
              <a:gd name="connsiteY288" fmla="*/ 3403908 h 5345894"/>
              <a:gd name="connsiteX289" fmla="*/ 3848463 w 7559666"/>
              <a:gd name="connsiteY289" fmla="*/ 3403908 h 5345894"/>
              <a:gd name="connsiteX290" fmla="*/ 3848463 w 7559666"/>
              <a:gd name="connsiteY290" fmla="*/ 3412730 h 5345894"/>
              <a:gd name="connsiteX291" fmla="*/ 3867155 w 7559666"/>
              <a:gd name="connsiteY291" fmla="*/ 3412730 h 5345894"/>
              <a:gd name="connsiteX292" fmla="*/ 3867155 w 7559666"/>
              <a:gd name="connsiteY292" fmla="*/ 3460581 h 5345894"/>
              <a:gd name="connsiteX293" fmla="*/ 3877772 w 7559666"/>
              <a:gd name="connsiteY293" fmla="*/ 3460581 h 5345894"/>
              <a:gd name="connsiteX294" fmla="*/ 3877772 w 7559666"/>
              <a:gd name="connsiteY294" fmla="*/ 3412730 h 5345894"/>
              <a:gd name="connsiteX295" fmla="*/ 3896613 w 7559666"/>
              <a:gd name="connsiteY295" fmla="*/ 3412730 h 5345894"/>
              <a:gd name="connsiteX296" fmla="*/ 3896613 w 7559666"/>
              <a:gd name="connsiteY296" fmla="*/ 3403908 h 5345894"/>
              <a:gd name="connsiteX297" fmla="*/ 3788350 w 7559666"/>
              <a:gd name="connsiteY297" fmla="*/ 3403908 h 5345894"/>
              <a:gd name="connsiteX298" fmla="*/ 3762930 w 7559666"/>
              <a:gd name="connsiteY298" fmla="*/ 3460581 h 5345894"/>
              <a:gd name="connsiteX299" fmla="*/ 3773695 w 7559666"/>
              <a:gd name="connsiteY299" fmla="*/ 3460581 h 5345894"/>
              <a:gd name="connsiteX300" fmla="*/ 3779378 w 7559666"/>
              <a:gd name="connsiteY300" fmla="*/ 3447422 h 5345894"/>
              <a:gd name="connsiteX301" fmla="*/ 3807640 w 7559666"/>
              <a:gd name="connsiteY301" fmla="*/ 3447422 h 5345894"/>
              <a:gd name="connsiteX302" fmla="*/ 3813322 w 7559666"/>
              <a:gd name="connsiteY302" fmla="*/ 3460581 h 5345894"/>
              <a:gd name="connsiteX303" fmla="*/ 3824388 w 7559666"/>
              <a:gd name="connsiteY303" fmla="*/ 3460581 h 5345894"/>
              <a:gd name="connsiteX304" fmla="*/ 3798817 w 7559666"/>
              <a:gd name="connsiteY304" fmla="*/ 3403908 h 5345894"/>
              <a:gd name="connsiteX305" fmla="*/ 3631941 w 7559666"/>
              <a:gd name="connsiteY305" fmla="*/ 3403908 h 5345894"/>
              <a:gd name="connsiteX306" fmla="*/ 3631941 w 7559666"/>
              <a:gd name="connsiteY306" fmla="*/ 3460582 h 5345894"/>
              <a:gd name="connsiteX307" fmla="*/ 3642557 w 7559666"/>
              <a:gd name="connsiteY307" fmla="*/ 3460582 h 5345894"/>
              <a:gd name="connsiteX308" fmla="*/ 3642557 w 7559666"/>
              <a:gd name="connsiteY308" fmla="*/ 3443983 h 5345894"/>
              <a:gd name="connsiteX309" fmla="*/ 3657510 w 7559666"/>
              <a:gd name="connsiteY309" fmla="*/ 3443983 h 5345894"/>
              <a:gd name="connsiteX310" fmla="*/ 3669024 w 7559666"/>
              <a:gd name="connsiteY310" fmla="*/ 3460582 h 5345894"/>
              <a:gd name="connsiteX311" fmla="*/ 3679939 w 7559666"/>
              <a:gd name="connsiteY311" fmla="*/ 3460731 h 5345894"/>
              <a:gd name="connsiteX312" fmla="*/ 3666931 w 7559666"/>
              <a:gd name="connsiteY312" fmla="*/ 3442039 h 5345894"/>
              <a:gd name="connsiteX313" fmla="*/ 3675903 w 7559666"/>
              <a:gd name="connsiteY313" fmla="*/ 3435161 h 5345894"/>
              <a:gd name="connsiteX314" fmla="*/ 3679043 w 7559666"/>
              <a:gd name="connsiteY314" fmla="*/ 3424245 h 5345894"/>
              <a:gd name="connsiteX315" fmla="*/ 3676053 w 7559666"/>
              <a:gd name="connsiteY315" fmla="*/ 3413329 h 5345894"/>
              <a:gd name="connsiteX316" fmla="*/ 3667679 w 7559666"/>
              <a:gd name="connsiteY316" fmla="*/ 3406450 h 5345894"/>
              <a:gd name="connsiteX317" fmla="*/ 3655267 w 7559666"/>
              <a:gd name="connsiteY317" fmla="*/ 3403908 h 5345894"/>
              <a:gd name="connsiteX318" fmla="*/ 3561810 w 7559666"/>
              <a:gd name="connsiteY318" fmla="*/ 3403908 h 5345894"/>
              <a:gd name="connsiteX319" fmla="*/ 3536240 w 7559666"/>
              <a:gd name="connsiteY319" fmla="*/ 3460581 h 5345894"/>
              <a:gd name="connsiteX320" fmla="*/ 3547157 w 7559666"/>
              <a:gd name="connsiteY320" fmla="*/ 3460581 h 5345894"/>
              <a:gd name="connsiteX321" fmla="*/ 3552838 w 7559666"/>
              <a:gd name="connsiteY321" fmla="*/ 3447422 h 5345894"/>
              <a:gd name="connsiteX322" fmla="*/ 3581100 w 7559666"/>
              <a:gd name="connsiteY322" fmla="*/ 3447422 h 5345894"/>
              <a:gd name="connsiteX323" fmla="*/ 3586783 w 7559666"/>
              <a:gd name="connsiteY323" fmla="*/ 3460581 h 5345894"/>
              <a:gd name="connsiteX324" fmla="*/ 3597848 w 7559666"/>
              <a:gd name="connsiteY324" fmla="*/ 3460581 h 5345894"/>
              <a:gd name="connsiteX325" fmla="*/ 3572278 w 7559666"/>
              <a:gd name="connsiteY325" fmla="*/ 3403908 h 5345894"/>
              <a:gd name="connsiteX326" fmla="*/ 3231489 w 7559666"/>
              <a:gd name="connsiteY326" fmla="*/ 3403908 h 5345894"/>
              <a:gd name="connsiteX327" fmla="*/ 3231489 w 7559666"/>
              <a:gd name="connsiteY327" fmla="*/ 3460581 h 5345894"/>
              <a:gd name="connsiteX328" fmla="*/ 3241510 w 7559666"/>
              <a:gd name="connsiteY328" fmla="*/ 3460581 h 5345894"/>
              <a:gd name="connsiteX329" fmla="*/ 3241510 w 7559666"/>
              <a:gd name="connsiteY329" fmla="*/ 3423497 h 5345894"/>
              <a:gd name="connsiteX330" fmla="*/ 3260051 w 7559666"/>
              <a:gd name="connsiteY330" fmla="*/ 3454152 h 5345894"/>
              <a:gd name="connsiteX331" fmla="*/ 3264837 w 7559666"/>
              <a:gd name="connsiteY331" fmla="*/ 3454152 h 5345894"/>
              <a:gd name="connsiteX332" fmla="*/ 3283529 w 7559666"/>
              <a:gd name="connsiteY332" fmla="*/ 3423048 h 5345894"/>
              <a:gd name="connsiteX333" fmla="*/ 3283529 w 7559666"/>
              <a:gd name="connsiteY333" fmla="*/ 3460581 h 5345894"/>
              <a:gd name="connsiteX334" fmla="*/ 3293547 w 7559666"/>
              <a:gd name="connsiteY334" fmla="*/ 3460581 h 5345894"/>
              <a:gd name="connsiteX335" fmla="*/ 3293398 w 7559666"/>
              <a:gd name="connsiteY335" fmla="*/ 3403908 h 5345894"/>
              <a:gd name="connsiteX336" fmla="*/ 3284725 w 7559666"/>
              <a:gd name="connsiteY336" fmla="*/ 3403908 h 5345894"/>
              <a:gd name="connsiteX337" fmla="*/ 3262593 w 7559666"/>
              <a:gd name="connsiteY337" fmla="*/ 3441441 h 5345894"/>
              <a:gd name="connsiteX338" fmla="*/ 3240162 w 7559666"/>
              <a:gd name="connsiteY338" fmla="*/ 3403908 h 5345894"/>
              <a:gd name="connsiteX339" fmla="*/ 3127116 w 7559666"/>
              <a:gd name="connsiteY339" fmla="*/ 3403908 h 5345894"/>
              <a:gd name="connsiteX340" fmla="*/ 3127116 w 7559666"/>
              <a:gd name="connsiteY340" fmla="*/ 3460581 h 5345894"/>
              <a:gd name="connsiteX341" fmla="*/ 3137135 w 7559666"/>
              <a:gd name="connsiteY341" fmla="*/ 3460581 h 5345894"/>
              <a:gd name="connsiteX342" fmla="*/ 3137135 w 7559666"/>
              <a:gd name="connsiteY342" fmla="*/ 3423497 h 5345894"/>
              <a:gd name="connsiteX343" fmla="*/ 3155826 w 7559666"/>
              <a:gd name="connsiteY343" fmla="*/ 3454152 h 5345894"/>
              <a:gd name="connsiteX344" fmla="*/ 3160461 w 7559666"/>
              <a:gd name="connsiteY344" fmla="*/ 3454152 h 5345894"/>
              <a:gd name="connsiteX345" fmla="*/ 3179154 w 7559666"/>
              <a:gd name="connsiteY345" fmla="*/ 3423048 h 5345894"/>
              <a:gd name="connsiteX346" fmla="*/ 3179154 w 7559666"/>
              <a:gd name="connsiteY346" fmla="*/ 3460581 h 5345894"/>
              <a:gd name="connsiteX347" fmla="*/ 3189173 w 7559666"/>
              <a:gd name="connsiteY347" fmla="*/ 3460581 h 5345894"/>
              <a:gd name="connsiteX348" fmla="*/ 3189173 w 7559666"/>
              <a:gd name="connsiteY348" fmla="*/ 3403908 h 5345894"/>
              <a:gd name="connsiteX349" fmla="*/ 3180350 w 7559666"/>
              <a:gd name="connsiteY349" fmla="*/ 3403908 h 5345894"/>
              <a:gd name="connsiteX350" fmla="*/ 3158217 w 7559666"/>
              <a:gd name="connsiteY350" fmla="*/ 3441441 h 5345894"/>
              <a:gd name="connsiteX351" fmla="*/ 3135789 w 7559666"/>
              <a:gd name="connsiteY351" fmla="*/ 3403908 h 5345894"/>
              <a:gd name="connsiteX352" fmla="*/ 2714701 w 7559666"/>
              <a:gd name="connsiteY352" fmla="*/ 3403908 h 5345894"/>
              <a:gd name="connsiteX353" fmla="*/ 2714701 w 7559666"/>
              <a:gd name="connsiteY353" fmla="*/ 3460731 h 5345894"/>
              <a:gd name="connsiteX354" fmla="*/ 2739524 w 7559666"/>
              <a:gd name="connsiteY354" fmla="*/ 3460731 h 5345894"/>
              <a:gd name="connsiteX355" fmla="*/ 2755673 w 7559666"/>
              <a:gd name="connsiteY355" fmla="*/ 3457292 h 5345894"/>
              <a:gd name="connsiteX356" fmla="*/ 2766589 w 7559666"/>
              <a:gd name="connsiteY356" fmla="*/ 3447273 h 5345894"/>
              <a:gd name="connsiteX357" fmla="*/ 2766589 w 7559666"/>
              <a:gd name="connsiteY357" fmla="*/ 3417366 h 5345894"/>
              <a:gd name="connsiteX358" fmla="*/ 2755673 w 7559666"/>
              <a:gd name="connsiteY358" fmla="*/ 3407348 h 5345894"/>
              <a:gd name="connsiteX359" fmla="*/ 2739524 w 7559666"/>
              <a:gd name="connsiteY359" fmla="*/ 3403908 h 5345894"/>
              <a:gd name="connsiteX360" fmla="*/ 3718072 w 7559666"/>
              <a:gd name="connsiteY360" fmla="*/ 3403759 h 5345894"/>
              <a:gd name="connsiteX361" fmla="*/ 3718072 w 7559666"/>
              <a:gd name="connsiteY361" fmla="*/ 3460582 h 5345894"/>
              <a:gd name="connsiteX362" fmla="*/ 3728539 w 7559666"/>
              <a:gd name="connsiteY362" fmla="*/ 3460582 h 5345894"/>
              <a:gd name="connsiteX363" fmla="*/ 3728539 w 7559666"/>
              <a:gd name="connsiteY363" fmla="*/ 3403759 h 5345894"/>
              <a:gd name="connsiteX364" fmla="*/ 3335714 w 7559666"/>
              <a:gd name="connsiteY364" fmla="*/ 3403759 h 5345894"/>
              <a:gd name="connsiteX365" fmla="*/ 3335714 w 7559666"/>
              <a:gd name="connsiteY365" fmla="*/ 3460582 h 5345894"/>
              <a:gd name="connsiteX366" fmla="*/ 3346182 w 7559666"/>
              <a:gd name="connsiteY366" fmla="*/ 3460582 h 5345894"/>
              <a:gd name="connsiteX367" fmla="*/ 3346182 w 7559666"/>
              <a:gd name="connsiteY367" fmla="*/ 3403759 h 5345894"/>
              <a:gd name="connsiteX368" fmla="*/ 4306486 w 7559666"/>
              <a:gd name="connsiteY368" fmla="*/ 3403160 h 5345894"/>
              <a:gd name="connsiteX369" fmla="*/ 4291532 w 7559666"/>
              <a:gd name="connsiteY369" fmla="*/ 3406898 h 5345894"/>
              <a:gd name="connsiteX370" fmla="*/ 4276579 w 7559666"/>
              <a:gd name="connsiteY370" fmla="*/ 3432319 h 5345894"/>
              <a:gd name="connsiteX371" fmla="*/ 4280616 w 7559666"/>
              <a:gd name="connsiteY371" fmla="*/ 3447273 h 5345894"/>
              <a:gd name="connsiteX372" fmla="*/ 4291383 w 7559666"/>
              <a:gd name="connsiteY372" fmla="*/ 3457590 h 5345894"/>
              <a:gd name="connsiteX373" fmla="*/ 4290785 w 7559666"/>
              <a:gd name="connsiteY373" fmla="*/ 3457740 h 5345894"/>
              <a:gd name="connsiteX374" fmla="*/ 4319046 w 7559666"/>
              <a:gd name="connsiteY374" fmla="*/ 3459086 h 5345894"/>
              <a:gd name="connsiteX375" fmla="*/ 4328916 w 7559666"/>
              <a:gd name="connsiteY375" fmla="*/ 3452058 h 5345894"/>
              <a:gd name="connsiteX376" fmla="*/ 4322037 w 7559666"/>
              <a:gd name="connsiteY376" fmla="*/ 3445628 h 5345894"/>
              <a:gd name="connsiteX377" fmla="*/ 4307084 w 7559666"/>
              <a:gd name="connsiteY377" fmla="*/ 3452357 h 5345894"/>
              <a:gd name="connsiteX378" fmla="*/ 4296616 w 7559666"/>
              <a:gd name="connsiteY378" fmla="*/ 3449815 h 5345894"/>
              <a:gd name="connsiteX379" fmla="*/ 4289439 w 7559666"/>
              <a:gd name="connsiteY379" fmla="*/ 3442637 h 5345894"/>
              <a:gd name="connsiteX380" fmla="*/ 4286747 w 7559666"/>
              <a:gd name="connsiteY380" fmla="*/ 3432319 h 5345894"/>
              <a:gd name="connsiteX381" fmla="*/ 4289439 w 7559666"/>
              <a:gd name="connsiteY381" fmla="*/ 3422001 h 5345894"/>
              <a:gd name="connsiteX382" fmla="*/ 4296616 w 7559666"/>
              <a:gd name="connsiteY382" fmla="*/ 3414973 h 5345894"/>
              <a:gd name="connsiteX383" fmla="*/ 4307084 w 7559666"/>
              <a:gd name="connsiteY383" fmla="*/ 3412431 h 5345894"/>
              <a:gd name="connsiteX384" fmla="*/ 4322037 w 7559666"/>
              <a:gd name="connsiteY384" fmla="*/ 3419011 h 5345894"/>
              <a:gd name="connsiteX385" fmla="*/ 4328916 w 7559666"/>
              <a:gd name="connsiteY385" fmla="*/ 3412730 h 5345894"/>
              <a:gd name="connsiteX386" fmla="*/ 4319196 w 7559666"/>
              <a:gd name="connsiteY386" fmla="*/ 3405553 h 5345894"/>
              <a:gd name="connsiteX387" fmla="*/ 4306486 w 7559666"/>
              <a:gd name="connsiteY387" fmla="*/ 3403160 h 5345894"/>
              <a:gd name="connsiteX388" fmla="*/ 2973096 w 7559666"/>
              <a:gd name="connsiteY388" fmla="*/ 3403160 h 5345894"/>
              <a:gd name="connsiteX389" fmla="*/ 2958142 w 7559666"/>
              <a:gd name="connsiteY389" fmla="*/ 3406898 h 5345894"/>
              <a:gd name="connsiteX390" fmla="*/ 2943189 w 7559666"/>
              <a:gd name="connsiteY390" fmla="*/ 3432319 h 5345894"/>
              <a:gd name="connsiteX391" fmla="*/ 2947226 w 7559666"/>
              <a:gd name="connsiteY391" fmla="*/ 3447273 h 5345894"/>
              <a:gd name="connsiteX392" fmla="*/ 2957993 w 7559666"/>
              <a:gd name="connsiteY392" fmla="*/ 3457590 h 5345894"/>
              <a:gd name="connsiteX393" fmla="*/ 2957394 w 7559666"/>
              <a:gd name="connsiteY393" fmla="*/ 3457740 h 5345894"/>
              <a:gd name="connsiteX394" fmla="*/ 2985656 w 7559666"/>
              <a:gd name="connsiteY394" fmla="*/ 3459086 h 5345894"/>
              <a:gd name="connsiteX395" fmla="*/ 2995526 w 7559666"/>
              <a:gd name="connsiteY395" fmla="*/ 3452058 h 5345894"/>
              <a:gd name="connsiteX396" fmla="*/ 2988647 w 7559666"/>
              <a:gd name="connsiteY396" fmla="*/ 3445628 h 5345894"/>
              <a:gd name="connsiteX397" fmla="*/ 2973694 w 7559666"/>
              <a:gd name="connsiteY397" fmla="*/ 3452357 h 5345894"/>
              <a:gd name="connsiteX398" fmla="*/ 2963226 w 7559666"/>
              <a:gd name="connsiteY398" fmla="*/ 3449815 h 5345894"/>
              <a:gd name="connsiteX399" fmla="*/ 2956049 w 7559666"/>
              <a:gd name="connsiteY399" fmla="*/ 3442637 h 5345894"/>
              <a:gd name="connsiteX400" fmla="*/ 2953357 w 7559666"/>
              <a:gd name="connsiteY400" fmla="*/ 3432319 h 5345894"/>
              <a:gd name="connsiteX401" fmla="*/ 2956049 w 7559666"/>
              <a:gd name="connsiteY401" fmla="*/ 3422001 h 5345894"/>
              <a:gd name="connsiteX402" fmla="*/ 2963226 w 7559666"/>
              <a:gd name="connsiteY402" fmla="*/ 3414973 h 5345894"/>
              <a:gd name="connsiteX403" fmla="*/ 2973694 w 7559666"/>
              <a:gd name="connsiteY403" fmla="*/ 3412431 h 5345894"/>
              <a:gd name="connsiteX404" fmla="*/ 2988647 w 7559666"/>
              <a:gd name="connsiteY404" fmla="*/ 3419011 h 5345894"/>
              <a:gd name="connsiteX405" fmla="*/ 2995526 w 7559666"/>
              <a:gd name="connsiteY405" fmla="*/ 3412730 h 5345894"/>
              <a:gd name="connsiteX406" fmla="*/ 2985806 w 7559666"/>
              <a:gd name="connsiteY406" fmla="*/ 3405553 h 5345894"/>
              <a:gd name="connsiteX407" fmla="*/ 2973096 w 7559666"/>
              <a:gd name="connsiteY407" fmla="*/ 3403160 h 5345894"/>
              <a:gd name="connsiteX408" fmla="*/ 4824322 w 7559666"/>
              <a:gd name="connsiteY408" fmla="*/ 3403011 h 5345894"/>
              <a:gd name="connsiteX409" fmla="*/ 4811761 w 7559666"/>
              <a:gd name="connsiteY409" fmla="*/ 3405254 h 5345894"/>
              <a:gd name="connsiteX410" fmla="*/ 4804135 w 7559666"/>
              <a:gd name="connsiteY410" fmla="*/ 3411385 h 5345894"/>
              <a:gd name="connsiteX411" fmla="*/ 4801593 w 7559666"/>
              <a:gd name="connsiteY411" fmla="*/ 3419909 h 5345894"/>
              <a:gd name="connsiteX412" fmla="*/ 4804434 w 7559666"/>
              <a:gd name="connsiteY412" fmla="*/ 3428881 h 5345894"/>
              <a:gd name="connsiteX413" fmla="*/ 4811312 w 7559666"/>
              <a:gd name="connsiteY413" fmla="*/ 3433666 h 5345894"/>
              <a:gd name="connsiteX414" fmla="*/ 4821780 w 7559666"/>
              <a:gd name="connsiteY414" fmla="*/ 3436806 h 5345894"/>
              <a:gd name="connsiteX415" fmla="*/ 4829107 w 7559666"/>
              <a:gd name="connsiteY415" fmla="*/ 3438750 h 5345894"/>
              <a:gd name="connsiteX416" fmla="*/ 4833444 w 7559666"/>
              <a:gd name="connsiteY416" fmla="*/ 3441292 h 5345894"/>
              <a:gd name="connsiteX417" fmla="*/ 4835238 w 7559666"/>
              <a:gd name="connsiteY417" fmla="*/ 3445180 h 5345894"/>
              <a:gd name="connsiteX418" fmla="*/ 4832098 w 7559666"/>
              <a:gd name="connsiteY418" fmla="*/ 3450563 h 5345894"/>
              <a:gd name="connsiteX419" fmla="*/ 4822677 w 7559666"/>
              <a:gd name="connsiteY419" fmla="*/ 3452657 h 5345894"/>
              <a:gd name="connsiteX420" fmla="*/ 4812509 w 7559666"/>
              <a:gd name="connsiteY420" fmla="*/ 3450862 h 5345894"/>
              <a:gd name="connsiteX421" fmla="*/ 4803985 w 7559666"/>
              <a:gd name="connsiteY421" fmla="*/ 3446376 h 5345894"/>
              <a:gd name="connsiteX422" fmla="*/ 4800247 w 7559666"/>
              <a:gd name="connsiteY422" fmla="*/ 3454601 h 5345894"/>
              <a:gd name="connsiteX423" fmla="*/ 4809967 w 7559666"/>
              <a:gd name="connsiteY423" fmla="*/ 3459535 h 5345894"/>
              <a:gd name="connsiteX424" fmla="*/ 4822677 w 7559666"/>
              <a:gd name="connsiteY424" fmla="*/ 3461330 h 5345894"/>
              <a:gd name="connsiteX425" fmla="*/ 4835387 w 7559666"/>
              <a:gd name="connsiteY425" fmla="*/ 3459087 h 5345894"/>
              <a:gd name="connsiteX426" fmla="*/ 4843014 w 7559666"/>
              <a:gd name="connsiteY426" fmla="*/ 3453105 h 5345894"/>
              <a:gd name="connsiteX427" fmla="*/ 4845556 w 7559666"/>
              <a:gd name="connsiteY427" fmla="*/ 3444582 h 5345894"/>
              <a:gd name="connsiteX428" fmla="*/ 4842715 w 7559666"/>
              <a:gd name="connsiteY428" fmla="*/ 3435759 h 5345894"/>
              <a:gd name="connsiteX429" fmla="*/ 4835836 w 7559666"/>
              <a:gd name="connsiteY429" fmla="*/ 3430974 h 5345894"/>
              <a:gd name="connsiteX430" fmla="*/ 4825369 w 7559666"/>
              <a:gd name="connsiteY430" fmla="*/ 3427834 h 5345894"/>
              <a:gd name="connsiteX431" fmla="*/ 4818191 w 7559666"/>
              <a:gd name="connsiteY431" fmla="*/ 3425890 h 5345894"/>
              <a:gd name="connsiteX432" fmla="*/ 4813705 w 7559666"/>
              <a:gd name="connsiteY432" fmla="*/ 3423497 h 5345894"/>
              <a:gd name="connsiteX433" fmla="*/ 4811911 w 7559666"/>
              <a:gd name="connsiteY433" fmla="*/ 3419460 h 5345894"/>
              <a:gd name="connsiteX434" fmla="*/ 4815051 w 7559666"/>
              <a:gd name="connsiteY434" fmla="*/ 3413927 h 5345894"/>
              <a:gd name="connsiteX435" fmla="*/ 4824322 w 7559666"/>
              <a:gd name="connsiteY435" fmla="*/ 3411834 h 5345894"/>
              <a:gd name="connsiteX436" fmla="*/ 4832098 w 7559666"/>
              <a:gd name="connsiteY436" fmla="*/ 3412880 h 5345894"/>
              <a:gd name="connsiteX437" fmla="*/ 4839873 w 7559666"/>
              <a:gd name="connsiteY437" fmla="*/ 3416170 h 5345894"/>
              <a:gd name="connsiteX438" fmla="*/ 4843313 w 7559666"/>
              <a:gd name="connsiteY438" fmla="*/ 3408095 h 5345894"/>
              <a:gd name="connsiteX439" fmla="*/ 4834640 w 7559666"/>
              <a:gd name="connsiteY439" fmla="*/ 3404357 h 5345894"/>
              <a:gd name="connsiteX440" fmla="*/ 4824322 w 7559666"/>
              <a:gd name="connsiteY440" fmla="*/ 3403011 h 5345894"/>
              <a:gd name="connsiteX441" fmla="*/ 3485698 w 7559666"/>
              <a:gd name="connsiteY441" fmla="*/ 3403011 h 5345894"/>
              <a:gd name="connsiteX442" fmla="*/ 3473137 w 7559666"/>
              <a:gd name="connsiteY442" fmla="*/ 3405254 h 5345894"/>
              <a:gd name="connsiteX443" fmla="*/ 3465361 w 7559666"/>
              <a:gd name="connsiteY443" fmla="*/ 3411385 h 5345894"/>
              <a:gd name="connsiteX444" fmla="*/ 3462819 w 7559666"/>
              <a:gd name="connsiteY444" fmla="*/ 3419909 h 5345894"/>
              <a:gd name="connsiteX445" fmla="*/ 3465810 w 7559666"/>
              <a:gd name="connsiteY445" fmla="*/ 3428881 h 5345894"/>
              <a:gd name="connsiteX446" fmla="*/ 3472688 w 7559666"/>
              <a:gd name="connsiteY446" fmla="*/ 3433666 h 5345894"/>
              <a:gd name="connsiteX447" fmla="*/ 3483156 w 7559666"/>
              <a:gd name="connsiteY447" fmla="*/ 3436806 h 5345894"/>
              <a:gd name="connsiteX448" fmla="*/ 3490483 w 7559666"/>
              <a:gd name="connsiteY448" fmla="*/ 3438750 h 5345894"/>
              <a:gd name="connsiteX449" fmla="*/ 3494820 w 7559666"/>
              <a:gd name="connsiteY449" fmla="*/ 3441292 h 5345894"/>
              <a:gd name="connsiteX450" fmla="*/ 3496614 w 7559666"/>
              <a:gd name="connsiteY450" fmla="*/ 3445180 h 5345894"/>
              <a:gd name="connsiteX451" fmla="*/ 3493474 w 7559666"/>
              <a:gd name="connsiteY451" fmla="*/ 3450563 h 5345894"/>
              <a:gd name="connsiteX452" fmla="*/ 3484053 w 7559666"/>
              <a:gd name="connsiteY452" fmla="*/ 3452657 h 5345894"/>
              <a:gd name="connsiteX453" fmla="*/ 3473885 w 7559666"/>
              <a:gd name="connsiteY453" fmla="*/ 3450862 h 5345894"/>
              <a:gd name="connsiteX454" fmla="*/ 3465361 w 7559666"/>
              <a:gd name="connsiteY454" fmla="*/ 3446376 h 5345894"/>
              <a:gd name="connsiteX455" fmla="*/ 3461622 w 7559666"/>
              <a:gd name="connsiteY455" fmla="*/ 3454601 h 5345894"/>
              <a:gd name="connsiteX456" fmla="*/ 3471343 w 7559666"/>
              <a:gd name="connsiteY456" fmla="*/ 3459535 h 5345894"/>
              <a:gd name="connsiteX457" fmla="*/ 3484053 w 7559666"/>
              <a:gd name="connsiteY457" fmla="*/ 3461330 h 5345894"/>
              <a:gd name="connsiteX458" fmla="*/ 3496614 w 7559666"/>
              <a:gd name="connsiteY458" fmla="*/ 3459087 h 5345894"/>
              <a:gd name="connsiteX459" fmla="*/ 3504390 w 7559666"/>
              <a:gd name="connsiteY459" fmla="*/ 3453105 h 5345894"/>
              <a:gd name="connsiteX460" fmla="*/ 3506932 w 7559666"/>
              <a:gd name="connsiteY460" fmla="*/ 3444582 h 5345894"/>
              <a:gd name="connsiteX461" fmla="*/ 3504091 w 7559666"/>
              <a:gd name="connsiteY461" fmla="*/ 3435759 h 5345894"/>
              <a:gd name="connsiteX462" fmla="*/ 3497212 w 7559666"/>
              <a:gd name="connsiteY462" fmla="*/ 3430974 h 5345894"/>
              <a:gd name="connsiteX463" fmla="*/ 3486745 w 7559666"/>
              <a:gd name="connsiteY463" fmla="*/ 3427834 h 5345894"/>
              <a:gd name="connsiteX464" fmla="*/ 3479418 w 7559666"/>
              <a:gd name="connsiteY464" fmla="*/ 3425890 h 5345894"/>
              <a:gd name="connsiteX465" fmla="*/ 3475081 w 7559666"/>
              <a:gd name="connsiteY465" fmla="*/ 3423497 h 5345894"/>
              <a:gd name="connsiteX466" fmla="*/ 3473287 w 7559666"/>
              <a:gd name="connsiteY466" fmla="*/ 3419460 h 5345894"/>
              <a:gd name="connsiteX467" fmla="*/ 3476427 w 7559666"/>
              <a:gd name="connsiteY467" fmla="*/ 3413927 h 5345894"/>
              <a:gd name="connsiteX468" fmla="*/ 3485698 w 7559666"/>
              <a:gd name="connsiteY468" fmla="*/ 3411834 h 5345894"/>
              <a:gd name="connsiteX469" fmla="*/ 3493474 w 7559666"/>
              <a:gd name="connsiteY469" fmla="*/ 3412880 h 5345894"/>
              <a:gd name="connsiteX470" fmla="*/ 3501250 w 7559666"/>
              <a:gd name="connsiteY470" fmla="*/ 3416170 h 5345894"/>
              <a:gd name="connsiteX471" fmla="*/ 3504539 w 7559666"/>
              <a:gd name="connsiteY471" fmla="*/ 3408095 h 5345894"/>
              <a:gd name="connsiteX472" fmla="*/ 3495866 w 7559666"/>
              <a:gd name="connsiteY472" fmla="*/ 3404357 h 5345894"/>
              <a:gd name="connsiteX473" fmla="*/ 3485698 w 7559666"/>
              <a:gd name="connsiteY473" fmla="*/ 3403011 h 5345894"/>
              <a:gd name="connsiteX474" fmla="*/ 3407791 w 7559666"/>
              <a:gd name="connsiteY474" fmla="*/ 3403011 h 5345894"/>
              <a:gd name="connsiteX475" fmla="*/ 3395230 w 7559666"/>
              <a:gd name="connsiteY475" fmla="*/ 3405254 h 5345894"/>
              <a:gd name="connsiteX476" fmla="*/ 3387454 w 7559666"/>
              <a:gd name="connsiteY476" fmla="*/ 3411385 h 5345894"/>
              <a:gd name="connsiteX477" fmla="*/ 3384912 w 7559666"/>
              <a:gd name="connsiteY477" fmla="*/ 3419909 h 5345894"/>
              <a:gd name="connsiteX478" fmla="*/ 3387903 w 7559666"/>
              <a:gd name="connsiteY478" fmla="*/ 3428881 h 5345894"/>
              <a:gd name="connsiteX479" fmla="*/ 3394782 w 7559666"/>
              <a:gd name="connsiteY479" fmla="*/ 3433666 h 5345894"/>
              <a:gd name="connsiteX480" fmla="*/ 3405248 w 7559666"/>
              <a:gd name="connsiteY480" fmla="*/ 3436806 h 5345894"/>
              <a:gd name="connsiteX481" fmla="*/ 3412576 w 7559666"/>
              <a:gd name="connsiteY481" fmla="*/ 3438750 h 5345894"/>
              <a:gd name="connsiteX482" fmla="*/ 3416913 w 7559666"/>
              <a:gd name="connsiteY482" fmla="*/ 3441292 h 5345894"/>
              <a:gd name="connsiteX483" fmla="*/ 3418707 w 7559666"/>
              <a:gd name="connsiteY483" fmla="*/ 3445180 h 5345894"/>
              <a:gd name="connsiteX484" fmla="*/ 3415566 w 7559666"/>
              <a:gd name="connsiteY484" fmla="*/ 3450563 h 5345894"/>
              <a:gd name="connsiteX485" fmla="*/ 3406146 w 7559666"/>
              <a:gd name="connsiteY485" fmla="*/ 3452657 h 5345894"/>
              <a:gd name="connsiteX486" fmla="*/ 3395978 w 7559666"/>
              <a:gd name="connsiteY486" fmla="*/ 3450862 h 5345894"/>
              <a:gd name="connsiteX487" fmla="*/ 3387454 w 7559666"/>
              <a:gd name="connsiteY487" fmla="*/ 3446376 h 5345894"/>
              <a:gd name="connsiteX488" fmla="*/ 3383715 w 7559666"/>
              <a:gd name="connsiteY488" fmla="*/ 3454601 h 5345894"/>
              <a:gd name="connsiteX489" fmla="*/ 3393435 w 7559666"/>
              <a:gd name="connsiteY489" fmla="*/ 3459535 h 5345894"/>
              <a:gd name="connsiteX490" fmla="*/ 3406146 w 7559666"/>
              <a:gd name="connsiteY490" fmla="*/ 3461330 h 5345894"/>
              <a:gd name="connsiteX491" fmla="*/ 3418707 w 7559666"/>
              <a:gd name="connsiteY491" fmla="*/ 3459087 h 5345894"/>
              <a:gd name="connsiteX492" fmla="*/ 3426483 w 7559666"/>
              <a:gd name="connsiteY492" fmla="*/ 3453105 h 5345894"/>
              <a:gd name="connsiteX493" fmla="*/ 3429024 w 7559666"/>
              <a:gd name="connsiteY493" fmla="*/ 3444582 h 5345894"/>
              <a:gd name="connsiteX494" fmla="*/ 3426184 w 7559666"/>
              <a:gd name="connsiteY494" fmla="*/ 3435759 h 5345894"/>
              <a:gd name="connsiteX495" fmla="*/ 3419304 w 7559666"/>
              <a:gd name="connsiteY495" fmla="*/ 3430974 h 5345894"/>
              <a:gd name="connsiteX496" fmla="*/ 3408837 w 7559666"/>
              <a:gd name="connsiteY496" fmla="*/ 3427834 h 5345894"/>
              <a:gd name="connsiteX497" fmla="*/ 3401511 w 7559666"/>
              <a:gd name="connsiteY497" fmla="*/ 3425890 h 5345894"/>
              <a:gd name="connsiteX498" fmla="*/ 3397174 w 7559666"/>
              <a:gd name="connsiteY498" fmla="*/ 3423497 h 5345894"/>
              <a:gd name="connsiteX499" fmla="*/ 3395379 w 7559666"/>
              <a:gd name="connsiteY499" fmla="*/ 3419460 h 5345894"/>
              <a:gd name="connsiteX500" fmla="*/ 3398520 w 7559666"/>
              <a:gd name="connsiteY500" fmla="*/ 3413927 h 5345894"/>
              <a:gd name="connsiteX501" fmla="*/ 3407791 w 7559666"/>
              <a:gd name="connsiteY501" fmla="*/ 3411834 h 5345894"/>
              <a:gd name="connsiteX502" fmla="*/ 3415566 w 7559666"/>
              <a:gd name="connsiteY502" fmla="*/ 3412880 h 5345894"/>
              <a:gd name="connsiteX503" fmla="*/ 3423343 w 7559666"/>
              <a:gd name="connsiteY503" fmla="*/ 3416170 h 5345894"/>
              <a:gd name="connsiteX504" fmla="*/ 3426632 w 7559666"/>
              <a:gd name="connsiteY504" fmla="*/ 3408095 h 5345894"/>
              <a:gd name="connsiteX505" fmla="*/ 3417959 w 7559666"/>
              <a:gd name="connsiteY505" fmla="*/ 3404357 h 5345894"/>
              <a:gd name="connsiteX506" fmla="*/ 3407791 w 7559666"/>
              <a:gd name="connsiteY506" fmla="*/ 3403011 h 5345894"/>
              <a:gd name="connsiteX507" fmla="*/ 4839575 w 7559666"/>
              <a:gd name="connsiteY507" fmla="*/ 3351123 h 5345894"/>
              <a:gd name="connsiteX508" fmla="*/ 4834939 w 7559666"/>
              <a:gd name="connsiteY508" fmla="*/ 3353066 h 5345894"/>
              <a:gd name="connsiteX509" fmla="*/ 4833145 w 7559666"/>
              <a:gd name="connsiteY509" fmla="*/ 3357852 h 5345894"/>
              <a:gd name="connsiteX510" fmla="*/ 4834042 w 7559666"/>
              <a:gd name="connsiteY510" fmla="*/ 3361590 h 5345894"/>
              <a:gd name="connsiteX511" fmla="*/ 4836584 w 7559666"/>
              <a:gd name="connsiteY511" fmla="*/ 3363085 h 5345894"/>
              <a:gd name="connsiteX512" fmla="*/ 4833294 w 7559666"/>
              <a:gd name="connsiteY512" fmla="*/ 3375497 h 5345894"/>
              <a:gd name="connsiteX513" fmla="*/ 4839874 w 7559666"/>
              <a:gd name="connsiteY513" fmla="*/ 3375497 h 5345894"/>
              <a:gd name="connsiteX514" fmla="*/ 4844061 w 7559666"/>
              <a:gd name="connsiteY514" fmla="*/ 3364132 h 5345894"/>
              <a:gd name="connsiteX515" fmla="*/ 4845556 w 7559666"/>
              <a:gd name="connsiteY515" fmla="*/ 3359795 h 5345894"/>
              <a:gd name="connsiteX516" fmla="*/ 4845556 w 7559666"/>
              <a:gd name="connsiteY516" fmla="*/ 3357104 h 5345894"/>
              <a:gd name="connsiteX517" fmla="*/ 4843985 w 7559666"/>
              <a:gd name="connsiteY517" fmla="*/ 3352914 h 5345894"/>
              <a:gd name="connsiteX518" fmla="*/ 4844360 w 7559666"/>
              <a:gd name="connsiteY518" fmla="*/ 3353066 h 5345894"/>
              <a:gd name="connsiteX519" fmla="*/ 4843762 w 7559666"/>
              <a:gd name="connsiteY519" fmla="*/ 3352319 h 5345894"/>
              <a:gd name="connsiteX520" fmla="*/ 4843985 w 7559666"/>
              <a:gd name="connsiteY520" fmla="*/ 3352914 h 5345894"/>
              <a:gd name="connsiteX521" fmla="*/ 4569367 w 7559666"/>
              <a:gd name="connsiteY521" fmla="*/ 3338711 h 5345894"/>
              <a:gd name="connsiteX522" fmla="*/ 4586414 w 7559666"/>
              <a:gd name="connsiteY522" fmla="*/ 3338711 h 5345894"/>
              <a:gd name="connsiteX523" fmla="*/ 4598676 w 7559666"/>
              <a:gd name="connsiteY523" fmla="*/ 3346786 h 5345894"/>
              <a:gd name="connsiteX524" fmla="*/ 4586414 w 7559666"/>
              <a:gd name="connsiteY524" fmla="*/ 3355010 h 5345894"/>
              <a:gd name="connsiteX525" fmla="*/ 4569367 w 7559666"/>
              <a:gd name="connsiteY525" fmla="*/ 3355010 h 5345894"/>
              <a:gd name="connsiteX526" fmla="*/ 4078446 w 7559666"/>
              <a:gd name="connsiteY526" fmla="*/ 3317328 h 5345894"/>
              <a:gd name="connsiteX527" fmla="*/ 4098782 w 7559666"/>
              <a:gd name="connsiteY527" fmla="*/ 3317328 h 5345894"/>
              <a:gd name="connsiteX528" fmla="*/ 4105960 w 7559666"/>
              <a:gd name="connsiteY528" fmla="*/ 3324505 h 5345894"/>
              <a:gd name="connsiteX529" fmla="*/ 4108502 w 7559666"/>
              <a:gd name="connsiteY529" fmla="*/ 3334823 h 5345894"/>
              <a:gd name="connsiteX530" fmla="*/ 4105960 w 7559666"/>
              <a:gd name="connsiteY530" fmla="*/ 3344991 h 5345894"/>
              <a:gd name="connsiteX531" fmla="*/ 4098782 w 7559666"/>
              <a:gd name="connsiteY531" fmla="*/ 3352169 h 5345894"/>
              <a:gd name="connsiteX532" fmla="*/ 4078446 w 7559666"/>
              <a:gd name="connsiteY532" fmla="*/ 3352169 h 5345894"/>
              <a:gd name="connsiteX533" fmla="*/ 4071268 w 7559666"/>
              <a:gd name="connsiteY533" fmla="*/ 3344991 h 5345894"/>
              <a:gd name="connsiteX534" fmla="*/ 4068726 w 7559666"/>
              <a:gd name="connsiteY534" fmla="*/ 3334823 h 5345894"/>
              <a:gd name="connsiteX535" fmla="*/ 4071268 w 7559666"/>
              <a:gd name="connsiteY535" fmla="*/ 3324505 h 5345894"/>
              <a:gd name="connsiteX536" fmla="*/ 4078446 w 7559666"/>
              <a:gd name="connsiteY536" fmla="*/ 3317328 h 5345894"/>
              <a:gd name="connsiteX537" fmla="*/ 4483085 w 7559666"/>
              <a:gd name="connsiteY537" fmla="*/ 3317178 h 5345894"/>
              <a:gd name="connsiteX538" fmla="*/ 4493852 w 7559666"/>
              <a:gd name="connsiteY538" fmla="*/ 3341851 h 5345894"/>
              <a:gd name="connsiteX539" fmla="*/ 4472469 w 7559666"/>
              <a:gd name="connsiteY539" fmla="*/ 3341851 h 5345894"/>
              <a:gd name="connsiteX540" fmla="*/ 3304466 w 7559666"/>
              <a:gd name="connsiteY540" fmla="*/ 3316281 h 5345894"/>
              <a:gd name="connsiteX541" fmla="*/ 3316727 w 7559666"/>
              <a:gd name="connsiteY541" fmla="*/ 3316281 h 5345894"/>
              <a:gd name="connsiteX542" fmla="*/ 3327194 w 7559666"/>
              <a:gd name="connsiteY542" fmla="*/ 3319123 h 5345894"/>
              <a:gd name="connsiteX543" fmla="*/ 3327666 w 7559666"/>
              <a:gd name="connsiteY543" fmla="*/ 3319601 h 5345894"/>
              <a:gd name="connsiteX544" fmla="*/ 3327194 w 7559666"/>
              <a:gd name="connsiteY544" fmla="*/ 3335870 h 5345894"/>
              <a:gd name="connsiteX545" fmla="*/ 3316727 w 7559666"/>
              <a:gd name="connsiteY545" fmla="*/ 3338712 h 5345894"/>
              <a:gd name="connsiteX546" fmla="*/ 3304466 w 7559666"/>
              <a:gd name="connsiteY546" fmla="*/ 3338712 h 5345894"/>
              <a:gd name="connsiteX547" fmla="*/ 3491533 w 7559666"/>
              <a:gd name="connsiteY547" fmla="*/ 3315534 h 5345894"/>
              <a:gd name="connsiteX548" fmla="*/ 3503944 w 7559666"/>
              <a:gd name="connsiteY548" fmla="*/ 3315534 h 5345894"/>
              <a:gd name="connsiteX549" fmla="*/ 3514413 w 7559666"/>
              <a:gd name="connsiteY549" fmla="*/ 3318375 h 5345894"/>
              <a:gd name="connsiteX550" fmla="*/ 3514883 w 7559666"/>
              <a:gd name="connsiteY550" fmla="*/ 3318853 h 5345894"/>
              <a:gd name="connsiteX551" fmla="*/ 3514413 w 7559666"/>
              <a:gd name="connsiteY551" fmla="*/ 3335123 h 5345894"/>
              <a:gd name="connsiteX552" fmla="*/ 3503944 w 7559666"/>
              <a:gd name="connsiteY552" fmla="*/ 3338114 h 5345894"/>
              <a:gd name="connsiteX553" fmla="*/ 3491533 w 7559666"/>
              <a:gd name="connsiteY553" fmla="*/ 3338114 h 5345894"/>
              <a:gd name="connsiteX554" fmla="*/ 4293626 w 7559666"/>
              <a:gd name="connsiteY554" fmla="*/ 3315533 h 5345894"/>
              <a:gd name="connsiteX555" fmla="*/ 4305888 w 7559666"/>
              <a:gd name="connsiteY555" fmla="*/ 3315533 h 5345894"/>
              <a:gd name="connsiteX556" fmla="*/ 4316355 w 7559666"/>
              <a:gd name="connsiteY556" fmla="*/ 3318374 h 5345894"/>
              <a:gd name="connsiteX557" fmla="*/ 4316834 w 7559666"/>
              <a:gd name="connsiteY557" fmla="*/ 3318853 h 5345894"/>
              <a:gd name="connsiteX558" fmla="*/ 4316355 w 7559666"/>
              <a:gd name="connsiteY558" fmla="*/ 3335122 h 5345894"/>
              <a:gd name="connsiteX559" fmla="*/ 4305888 w 7559666"/>
              <a:gd name="connsiteY559" fmla="*/ 3337963 h 5345894"/>
              <a:gd name="connsiteX560" fmla="*/ 4293626 w 7559666"/>
              <a:gd name="connsiteY560" fmla="*/ 3337963 h 5345894"/>
              <a:gd name="connsiteX561" fmla="*/ 2725619 w 7559666"/>
              <a:gd name="connsiteY561" fmla="*/ 3315533 h 5345894"/>
              <a:gd name="connsiteX562" fmla="*/ 2739077 w 7559666"/>
              <a:gd name="connsiteY562" fmla="*/ 3315533 h 5345894"/>
              <a:gd name="connsiteX563" fmla="*/ 2749993 w 7559666"/>
              <a:gd name="connsiteY563" fmla="*/ 3317926 h 5345894"/>
              <a:gd name="connsiteX564" fmla="*/ 2757320 w 7559666"/>
              <a:gd name="connsiteY564" fmla="*/ 3324655 h 5345894"/>
              <a:gd name="connsiteX565" fmla="*/ 2759862 w 7559666"/>
              <a:gd name="connsiteY565" fmla="*/ 3334973 h 5345894"/>
              <a:gd name="connsiteX566" fmla="*/ 2757320 w 7559666"/>
              <a:gd name="connsiteY566" fmla="*/ 3345141 h 5345894"/>
              <a:gd name="connsiteX567" fmla="*/ 2749993 w 7559666"/>
              <a:gd name="connsiteY567" fmla="*/ 3352020 h 5345894"/>
              <a:gd name="connsiteX568" fmla="*/ 2739077 w 7559666"/>
              <a:gd name="connsiteY568" fmla="*/ 3354412 h 5345894"/>
              <a:gd name="connsiteX569" fmla="*/ 2725619 w 7559666"/>
              <a:gd name="connsiteY569" fmla="*/ 3354412 h 5345894"/>
              <a:gd name="connsiteX570" fmla="*/ 4583722 w 7559666"/>
              <a:gd name="connsiteY570" fmla="*/ 3314038 h 5345894"/>
              <a:gd name="connsiteX571" fmla="*/ 4592246 w 7559666"/>
              <a:gd name="connsiteY571" fmla="*/ 3316131 h 5345894"/>
              <a:gd name="connsiteX572" fmla="*/ 4595087 w 7559666"/>
              <a:gd name="connsiteY572" fmla="*/ 3321963 h 5345894"/>
              <a:gd name="connsiteX573" fmla="*/ 4592246 w 7559666"/>
              <a:gd name="connsiteY573" fmla="*/ 3327795 h 5345894"/>
              <a:gd name="connsiteX574" fmla="*/ 4583722 w 7559666"/>
              <a:gd name="connsiteY574" fmla="*/ 3329739 h 5345894"/>
              <a:gd name="connsiteX575" fmla="*/ 4568769 w 7559666"/>
              <a:gd name="connsiteY575" fmla="*/ 3329739 h 5345894"/>
              <a:gd name="connsiteX576" fmla="*/ 4568769 w 7559666"/>
              <a:gd name="connsiteY576" fmla="*/ 3314786 h 5345894"/>
              <a:gd name="connsiteX577" fmla="*/ 4006071 w 7559666"/>
              <a:gd name="connsiteY577" fmla="*/ 3308206 h 5345894"/>
              <a:gd name="connsiteX578" fmla="*/ 3977810 w 7559666"/>
              <a:gd name="connsiteY578" fmla="*/ 3309552 h 5345894"/>
              <a:gd name="connsiteX579" fmla="*/ 3966894 w 7559666"/>
              <a:gd name="connsiteY579" fmla="*/ 3320019 h 5345894"/>
              <a:gd name="connsiteX580" fmla="*/ 3963006 w 7559666"/>
              <a:gd name="connsiteY580" fmla="*/ 3334973 h 5345894"/>
              <a:gd name="connsiteX581" fmla="*/ 3966894 w 7559666"/>
              <a:gd name="connsiteY581" fmla="*/ 3349926 h 5345894"/>
              <a:gd name="connsiteX582" fmla="*/ 3977810 w 7559666"/>
              <a:gd name="connsiteY582" fmla="*/ 3360393 h 5345894"/>
              <a:gd name="connsiteX583" fmla="*/ 3978258 w 7559666"/>
              <a:gd name="connsiteY583" fmla="*/ 3360393 h 5345894"/>
              <a:gd name="connsiteX584" fmla="*/ 3993212 w 7559666"/>
              <a:gd name="connsiteY584" fmla="*/ 3364132 h 5345894"/>
              <a:gd name="connsiteX585" fmla="*/ 4006071 w 7559666"/>
              <a:gd name="connsiteY585" fmla="*/ 3361739 h 5345894"/>
              <a:gd name="connsiteX586" fmla="*/ 4015791 w 7559666"/>
              <a:gd name="connsiteY586" fmla="*/ 3354711 h 5345894"/>
              <a:gd name="connsiteX587" fmla="*/ 4009062 w 7559666"/>
              <a:gd name="connsiteY587" fmla="*/ 3348131 h 5345894"/>
              <a:gd name="connsiteX588" fmla="*/ 3994109 w 7559666"/>
              <a:gd name="connsiteY588" fmla="*/ 3354861 h 5345894"/>
              <a:gd name="connsiteX589" fmla="*/ 3983641 w 7559666"/>
              <a:gd name="connsiteY589" fmla="*/ 3352318 h 5345894"/>
              <a:gd name="connsiteX590" fmla="*/ 3976464 w 7559666"/>
              <a:gd name="connsiteY590" fmla="*/ 3345290 h 5345894"/>
              <a:gd name="connsiteX591" fmla="*/ 3973922 w 7559666"/>
              <a:gd name="connsiteY591" fmla="*/ 3334973 h 5345894"/>
              <a:gd name="connsiteX592" fmla="*/ 3976464 w 7559666"/>
              <a:gd name="connsiteY592" fmla="*/ 3324655 h 5345894"/>
              <a:gd name="connsiteX593" fmla="*/ 3983641 w 7559666"/>
              <a:gd name="connsiteY593" fmla="*/ 3317626 h 5345894"/>
              <a:gd name="connsiteX594" fmla="*/ 3994109 w 7559666"/>
              <a:gd name="connsiteY594" fmla="*/ 3314935 h 5345894"/>
              <a:gd name="connsiteX595" fmla="*/ 4009062 w 7559666"/>
              <a:gd name="connsiteY595" fmla="*/ 3321664 h 5345894"/>
              <a:gd name="connsiteX596" fmla="*/ 4015791 w 7559666"/>
              <a:gd name="connsiteY596" fmla="*/ 3315234 h 5345894"/>
              <a:gd name="connsiteX597" fmla="*/ 4006071 w 7559666"/>
              <a:gd name="connsiteY597" fmla="*/ 3308206 h 5345894"/>
              <a:gd name="connsiteX598" fmla="*/ 3293849 w 7559666"/>
              <a:gd name="connsiteY598" fmla="*/ 3307309 h 5345894"/>
              <a:gd name="connsiteX599" fmla="*/ 3293849 w 7559666"/>
              <a:gd name="connsiteY599" fmla="*/ 3363983 h 5345894"/>
              <a:gd name="connsiteX600" fmla="*/ 3304615 w 7559666"/>
              <a:gd name="connsiteY600" fmla="*/ 3363983 h 5345894"/>
              <a:gd name="connsiteX601" fmla="*/ 3304615 w 7559666"/>
              <a:gd name="connsiteY601" fmla="*/ 3347684 h 5345894"/>
              <a:gd name="connsiteX602" fmla="*/ 3317474 w 7559666"/>
              <a:gd name="connsiteY602" fmla="*/ 3347684 h 5345894"/>
              <a:gd name="connsiteX603" fmla="*/ 3330186 w 7559666"/>
              <a:gd name="connsiteY603" fmla="*/ 3345291 h 5345894"/>
              <a:gd name="connsiteX604" fmla="*/ 3338708 w 7559666"/>
              <a:gd name="connsiteY604" fmla="*/ 3338263 h 5345894"/>
              <a:gd name="connsiteX605" fmla="*/ 3341549 w 7559666"/>
              <a:gd name="connsiteY605" fmla="*/ 3327497 h 5345894"/>
              <a:gd name="connsiteX606" fmla="*/ 3338708 w 7559666"/>
              <a:gd name="connsiteY606" fmla="*/ 3316730 h 5345894"/>
              <a:gd name="connsiteX607" fmla="*/ 3329735 w 7559666"/>
              <a:gd name="connsiteY607" fmla="*/ 3308954 h 5345894"/>
              <a:gd name="connsiteX608" fmla="*/ 3330036 w 7559666"/>
              <a:gd name="connsiteY608" fmla="*/ 3309702 h 5345894"/>
              <a:gd name="connsiteX609" fmla="*/ 3317325 w 7559666"/>
              <a:gd name="connsiteY609" fmla="*/ 3307309 h 5345894"/>
              <a:gd name="connsiteX610" fmla="*/ 4744022 w 7559666"/>
              <a:gd name="connsiteY610" fmla="*/ 3306561 h 5345894"/>
              <a:gd name="connsiteX611" fmla="*/ 4744022 w 7559666"/>
              <a:gd name="connsiteY611" fmla="*/ 3363234 h 5345894"/>
              <a:gd name="connsiteX612" fmla="*/ 4786639 w 7559666"/>
              <a:gd name="connsiteY612" fmla="*/ 3363234 h 5345894"/>
              <a:gd name="connsiteX613" fmla="*/ 4786639 w 7559666"/>
              <a:gd name="connsiteY613" fmla="*/ 3354412 h 5345894"/>
              <a:gd name="connsiteX614" fmla="*/ 4754639 w 7559666"/>
              <a:gd name="connsiteY614" fmla="*/ 3354412 h 5345894"/>
              <a:gd name="connsiteX615" fmla="*/ 4754639 w 7559666"/>
              <a:gd name="connsiteY615" fmla="*/ 3338860 h 5345894"/>
              <a:gd name="connsiteX616" fmla="*/ 4782004 w 7559666"/>
              <a:gd name="connsiteY616" fmla="*/ 3338860 h 5345894"/>
              <a:gd name="connsiteX617" fmla="*/ 4782004 w 7559666"/>
              <a:gd name="connsiteY617" fmla="*/ 3330187 h 5345894"/>
              <a:gd name="connsiteX618" fmla="*/ 4754639 w 7559666"/>
              <a:gd name="connsiteY618" fmla="*/ 3330187 h 5345894"/>
              <a:gd name="connsiteX619" fmla="*/ 4754639 w 7559666"/>
              <a:gd name="connsiteY619" fmla="*/ 3315384 h 5345894"/>
              <a:gd name="connsiteX620" fmla="*/ 4785443 w 7559666"/>
              <a:gd name="connsiteY620" fmla="*/ 3315384 h 5345894"/>
              <a:gd name="connsiteX621" fmla="*/ 4785443 w 7559666"/>
              <a:gd name="connsiteY621" fmla="*/ 3306561 h 5345894"/>
              <a:gd name="connsiteX622" fmla="*/ 4657891 w 7559666"/>
              <a:gd name="connsiteY622" fmla="*/ 3306561 h 5345894"/>
              <a:gd name="connsiteX623" fmla="*/ 4657891 w 7559666"/>
              <a:gd name="connsiteY623" fmla="*/ 3363234 h 5345894"/>
              <a:gd name="connsiteX624" fmla="*/ 4698116 w 7559666"/>
              <a:gd name="connsiteY624" fmla="*/ 3363234 h 5345894"/>
              <a:gd name="connsiteX625" fmla="*/ 4698116 w 7559666"/>
              <a:gd name="connsiteY625" fmla="*/ 3354412 h 5345894"/>
              <a:gd name="connsiteX626" fmla="*/ 4668508 w 7559666"/>
              <a:gd name="connsiteY626" fmla="*/ 3354412 h 5345894"/>
              <a:gd name="connsiteX627" fmla="*/ 4668508 w 7559666"/>
              <a:gd name="connsiteY627" fmla="*/ 3306561 h 5345894"/>
              <a:gd name="connsiteX628" fmla="*/ 4558750 w 7559666"/>
              <a:gd name="connsiteY628" fmla="*/ 3306561 h 5345894"/>
              <a:gd name="connsiteX629" fmla="*/ 4558750 w 7559666"/>
              <a:gd name="connsiteY629" fmla="*/ 3363235 h 5345894"/>
              <a:gd name="connsiteX630" fmla="*/ 4586862 w 7559666"/>
              <a:gd name="connsiteY630" fmla="*/ 3363235 h 5345894"/>
              <a:gd name="connsiteX631" fmla="*/ 4603461 w 7559666"/>
              <a:gd name="connsiteY631" fmla="*/ 3359347 h 5345894"/>
              <a:gd name="connsiteX632" fmla="*/ 4609143 w 7559666"/>
              <a:gd name="connsiteY632" fmla="*/ 3347833 h 5345894"/>
              <a:gd name="connsiteX633" fmla="*/ 4606451 w 7559666"/>
              <a:gd name="connsiteY633" fmla="*/ 3339010 h 5345894"/>
              <a:gd name="connsiteX634" fmla="*/ 4606003 w 7559666"/>
              <a:gd name="connsiteY634" fmla="*/ 3339010 h 5345894"/>
              <a:gd name="connsiteX635" fmla="*/ 4598526 w 7559666"/>
              <a:gd name="connsiteY635" fmla="*/ 3333776 h 5345894"/>
              <a:gd name="connsiteX636" fmla="*/ 4603760 w 7559666"/>
              <a:gd name="connsiteY636" fmla="*/ 3328842 h 5345894"/>
              <a:gd name="connsiteX637" fmla="*/ 4605704 w 7559666"/>
              <a:gd name="connsiteY637" fmla="*/ 3321365 h 5345894"/>
              <a:gd name="connsiteX638" fmla="*/ 4600321 w 7559666"/>
              <a:gd name="connsiteY638" fmla="*/ 3310449 h 5345894"/>
              <a:gd name="connsiteX639" fmla="*/ 4585367 w 7559666"/>
              <a:gd name="connsiteY639" fmla="*/ 3306561 h 5345894"/>
              <a:gd name="connsiteX640" fmla="*/ 4478001 w 7559666"/>
              <a:gd name="connsiteY640" fmla="*/ 3306561 h 5345894"/>
              <a:gd name="connsiteX641" fmla="*/ 4452431 w 7559666"/>
              <a:gd name="connsiteY641" fmla="*/ 3363384 h 5345894"/>
              <a:gd name="connsiteX642" fmla="*/ 4463347 w 7559666"/>
              <a:gd name="connsiteY642" fmla="*/ 3363384 h 5345894"/>
              <a:gd name="connsiteX643" fmla="*/ 4468880 w 7559666"/>
              <a:gd name="connsiteY643" fmla="*/ 3350225 h 5345894"/>
              <a:gd name="connsiteX644" fmla="*/ 4497291 w 7559666"/>
              <a:gd name="connsiteY644" fmla="*/ 3350225 h 5345894"/>
              <a:gd name="connsiteX645" fmla="*/ 4502973 w 7559666"/>
              <a:gd name="connsiteY645" fmla="*/ 3363384 h 5345894"/>
              <a:gd name="connsiteX646" fmla="*/ 4514039 w 7559666"/>
              <a:gd name="connsiteY646" fmla="*/ 3363384 h 5345894"/>
              <a:gd name="connsiteX647" fmla="*/ 4488319 w 7559666"/>
              <a:gd name="connsiteY647" fmla="*/ 3306561 h 5345894"/>
              <a:gd name="connsiteX648" fmla="*/ 4369589 w 7559666"/>
              <a:gd name="connsiteY648" fmla="*/ 3306561 h 5345894"/>
              <a:gd name="connsiteX649" fmla="*/ 4369589 w 7559666"/>
              <a:gd name="connsiteY649" fmla="*/ 3315533 h 5345894"/>
              <a:gd name="connsiteX650" fmla="*/ 4388430 w 7559666"/>
              <a:gd name="connsiteY650" fmla="*/ 3315533 h 5345894"/>
              <a:gd name="connsiteX651" fmla="*/ 4388430 w 7559666"/>
              <a:gd name="connsiteY651" fmla="*/ 3363234 h 5345894"/>
              <a:gd name="connsiteX652" fmla="*/ 4399047 w 7559666"/>
              <a:gd name="connsiteY652" fmla="*/ 3363234 h 5345894"/>
              <a:gd name="connsiteX653" fmla="*/ 4399047 w 7559666"/>
              <a:gd name="connsiteY653" fmla="*/ 3315533 h 5345894"/>
              <a:gd name="connsiteX654" fmla="*/ 4417888 w 7559666"/>
              <a:gd name="connsiteY654" fmla="*/ 3315533 h 5345894"/>
              <a:gd name="connsiteX655" fmla="*/ 4417888 w 7559666"/>
              <a:gd name="connsiteY655" fmla="*/ 3306561 h 5345894"/>
              <a:gd name="connsiteX656" fmla="*/ 4283009 w 7559666"/>
              <a:gd name="connsiteY656" fmla="*/ 3306561 h 5345894"/>
              <a:gd name="connsiteX657" fmla="*/ 4283009 w 7559666"/>
              <a:gd name="connsiteY657" fmla="*/ 3363235 h 5345894"/>
              <a:gd name="connsiteX658" fmla="*/ 4293626 w 7559666"/>
              <a:gd name="connsiteY658" fmla="*/ 3363235 h 5345894"/>
              <a:gd name="connsiteX659" fmla="*/ 4293626 w 7559666"/>
              <a:gd name="connsiteY659" fmla="*/ 3346935 h 5345894"/>
              <a:gd name="connsiteX660" fmla="*/ 4306336 w 7559666"/>
              <a:gd name="connsiteY660" fmla="*/ 3346935 h 5345894"/>
              <a:gd name="connsiteX661" fmla="*/ 4319196 w 7559666"/>
              <a:gd name="connsiteY661" fmla="*/ 3344543 h 5345894"/>
              <a:gd name="connsiteX662" fmla="*/ 4327570 w 7559666"/>
              <a:gd name="connsiteY662" fmla="*/ 3337515 h 5345894"/>
              <a:gd name="connsiteX663" fmla="*/ 4330561 w 7559666"/>
              <a:gd name="connsiteY663" fmla="*/ 3326748 h 5345894"/>
              <a:gd name="connsiteX664" fmla="*/ 4319196 w 7559666"/>
              <a:gd name="connsiteY664" fmla="*/ 3308954 h 5345894"/>
              <a:gd name="connsiteX665" fmla="*/ 4306336 w 7559666"/>
              <a:gd name="connsiteY665" fmla="*/ 3306561 h 5345894"/>
              <a:gd name="connsiteX666" fmla="*/ 4168017 w 7559666"/>
              <a:gd name="connsiteY666" fmla="*/ 3306561 h 5345894"/>
              <a:gd name="connsiteX667" fmla="*/ 4168017 w 7559666"/>
              <a:gd name="connsiteY667" fmla="*/ 3363234 h 5345894"/>
              <a:gd name="connsiteX668" fmla="*/ 4178185 w 7559666"/>
              <a:gd name="connsiteY668" fmla="*/ 3363234 h 5345894"/>
              <a:gd name="connsiteX669" fmla="*/ 4178185 w 7559666"/>
              <a:gd name="connsiteY669" fmla="*/ 3326150 h 5345894"/>
              <a:gd name="connsiteX670" fmla="*/ 4196728 w 7559666"/>
              <a:gd name="connsiteY670" fmla="*/ 3356805 h 5345894"/>
              <a:gd name="connsiteX671" fmla="*/ 4201513 w 7559666"/>
              <a:gd name="connsiteY671" fmla="*/ 3356805 h 5345894"/>
              <a:gd name="connsiteX672" fmla="*/ 4220055 w 7559666"/>
              <a:gd name="connsiteY672" fmla="*/ 3325701 h 5345894"/>
              <a:gd name="connsiteX673" fmla="*/ 4220204 w 7559666"/>
              <a:gd name="connsiteY673" fmla="*/ 3363234 h 5345894"/>
              <a:gd name="connsiteX674" fmla="*/ 4230223 w 7559666"/>
              <a:gd name="connsiteY674" fmla="*/ 3363234 h 5345894"/>
              <a:gd name="connsiteX675" fmla="*/ 4230074 w 7559666"/>
              <a:gd name="connsiteY675" fmla="*/ 3306561 h 5345894"/>
              <a:gd name="connsiteX676" fmla="*/ 4221401 w 7559666"/>
              <a:gd name="connsiteY676" fmla="*/ 3306561 h 5345894"/>
              <a:gd name="connsiteX677" fmla="*/ 4199270 w 7559666"/>
              <a:gd name="connsiteY677" fmla="*/ 3344094 h 5345894"/>
              <a:gd name="connsiteX678" fmla="*/ 4176690 w 7559666"/>
              <a:gd name="connsiteY678" fmla="*/ 3306561 h 5345894"/>
              <a:gd name="connsiteX679" fmla="*/ 3815266 w 7559666"/>
              <a:gd name="connsiteY679" fmla="*/ 3306561 h 5345894"/>
              <a:gd name="connsiteX680" fmla="*/ 3815266 w 7559666"/>
              <a:gd name="connsiteY680" fmla="*/ 3363234 h 5345894"/>
              <a:gd name="connsiteX681" fmla="*/ 3857883 w 7559666"/>
              <a:gd name="connsiteY681" fmla="*/ 3363234 h 5345894"/>
              <a:gd name="connsiteX682" fmla="*/ 3857883 w 7559666"/>
              <a:gd name="connsiteY682" fmla="*/ 3354412 h 5345894"/>
              <a:gd name="connsiteX683" fmla="*/ 3825883 w 7559666"/>
              <a:gd name="connsiteY683" fmla="*/ 3354412 h 5345894"/>
              <a:gd name="connsiteX684" fmla="*/ 3825883 w 7559666"/>
              <a:gd name="connsiteY684" fmla="*/ 3338860 h 5345894"/>
              <a:gd name="connsiteX685" fmla="*/ 3853248 w 7559666"/>
              <a:gd name="connsiteY685" fmla="*/ 3338860 h 5345894"/>
              <a:gd name="connsiteX686" fmla="*/ 3853248 w 7559666"/>
              <a:gd name="connsiteY686" fmla="*/ 3330187 h 5345894"/>
              <a:gd name="connsiteX687" fmla="*/ 3825883 w 7559666"/>
              <a:gd name="connsiteY687" fmla="*/ 3330187 h 5345894"/>
              <a:gd name="connsiteX688" fmla="*/ 3825883 w 7559666"/>
              <a:gd name="connsiteY688" fmla="*/ 3315384 h 5345894"/>
              <a:gd name="connsiteX689" fmla="*/ 3856687 w 7559666"/>
              <a:gd name="connsiteY689" fmla="*/ 3315384 h 5345894"/>
              <a:gd name="connsiteX690" fmla="*/ 3856687 w 7559666"/>
              <a:gd name="connsiteY690" fmla="*/ 3306561 h 5345894"/>
              <a:gd name="connsiteX691" fmla="*/ 3663344 w 7559666"/>
              <a:gd name="connsiteY691" fmla="*/ 3306561 h 5345894"/>
              <a:gd name="connsiteX692" fmla="*/ 3663344 w 7559666"/>
              <a:gd name="connsiteY692" fmla="*/ 3363384 h 5345894"/>
              <a:gd name="connsiteX693" fmla="*/ 3673810 w 7559666"/>
              <a:gd name="connsiteY693" fmla="*/ 3363384 h 5345894"/>
              <a:gd name="connsiteX694" fmla="*/ 3673810 w 7559666"/>
              <a:gd name="connsiteY694" fmla="*/ 3306561 h 5345894"/>
              <a:gd name="connsiteX695" fmla="*/ 3569739 w 7559666"/>
              <a:gd name="connsiteY695" fmla="*/ 3306561 h 5345894"/>
              <a:gd name="connsiteX696" fmla="*/ 3569739 w 7559666"/>
              <a:gd name="connsiteY696" fmla="*/ 3315533 h 5345894"/>
              <a:gd name="connsiteX697" fmla="*/ 3588580 w 7559666"/>
              <a:gd name="connsiteY697" fmla="*/ 3315533 h 5345894"/>
              <a:gd name="connsiteX698" fmla="*/ 3588580 w 7559666"/>
              <a:gd name="connsiteY698" fmla="*/ 3363234 h 5345894"/>
              <a:gd name="connsiteX699" fmla="*/ 3599047 w 7559666"/>
              <a:gd name="connsiteY699" fmla="*/ 3363234 h 5345894"/>
              <a:gd name="connsiteX700" fmla="*/ 3599047 w 7559666"/>
              <a:gd name="connsiteY700" fmla="*/ 3315533 h 5345894"/>
              <a:gd name="connsiteX701" fmla="*/ 3617887 w 7559666"/>
              <a:gd name="connsiteY701" fmla="*/ 3315533 h 5345894"/>
              <a:gd name="connsiteX702" fmla="*/ 3617887 w 7559666"/>
              <a:gd name="connsiteY702" fmla="*/ 3306561 h 5345894"/>
              <a:gd name="connsiteX703" fmla="*/ 3389250 w 7559666"/>
              <a:gd name="connsiteY703" fmla="*/ 3306561 h 5345894"/>
              <a:gd name="connsiteX704" fmla="*/ 3389250 w 7559666"/>
              <a:gd name="connsiteY704" fmla="*/ 3363234 h 5345894"/>
              <a:gd name="connsiteX705" fmla="*/ 3431717 w 7559666"/>
              <a:gd name="connsiteY705" fmla="*/ 3363234 h 5345894"/>
              <a:gd name="connsiteX706" fmla="*/ 3431717 w 7559666"/>
              <a:gd name="connsiteY706" fmla="*/ 3354412 h 5345894"/>
              <a:gd name="connsiteX707" fmla="*/ 3399717 w 7559666"/>
              <a:gd name="connsiteY707" fmla="*/ 3354412 h 5345894"/>
              <a:gd name="connsiteX708" fmla="*/ 3399717 w 7559666"/>
              <a:gd name="connsiteY708" fmla="*/ 3338860 h 5345894"/>
              <a:gd name="connsiteX709" fmla="*/ 3427083 w 7559666"/>
              <a:gd name="connsiteY709" fmla="*/ 3338860 h 5345894"/>
              <a:gd name="connsiteX710" fmla="*/ 3427083 w 7559666"/>
              <a:gd name="connsiteY710" fmla="*/ 3330187 h 5345894"/>
              <a:gd name="connsiteX711" fmla="*/ 3399717 w 7559666"/>
              <a:gd name="connsiteY711" fmla="*/ 3330187 h 5345894"/>
              <a:gd name="connsiteX712" fmla="*/ 3399717 w 7559666"/>
              <a:gd name="connsiteY712" fmla="*/ 3315384 h 5345894"/>
              <a:gd name="connsiteX713" fmla="*/ 3430671 w 7559666"/>
              <a:gd name="connsiteY713" fmla="*/ 3315384 h 5345894"/>
              <a:gd name="connsiteX714" fmla="*/ 3430671 w 7559666"/>
              <a:gd name="connsiteY714" fmla="*/ 3306561 h 5345894"/>
              <a:gd name="connsiteX715" fmla="*/ 3196053 w 7559666"/>
              <a:gd name="connsiteY715" fmla="*/ 3306561 h 5345894"/>
              <a:gd name="connsiteX716" fmla="*/ 3215941 w 7559666"/>
              <a:gd name="connsiteY716" fmla="*/ 3334374 h 5345894"/>
              <a:gd name="connsiteX717" fmla="*/ 3194857 w 7559666"/>
              <a:gd name="connsiteY717" fmla="*/ 3363234 h 5345894"/>
              <a:gd name="connsiteX718" fmla="*/ 3206820 w 7559666"/>
              <a:gd name="connsiteY718" fmla="*/ 3363234 h 5345894"/>
              <a:gd name="connsiteX719" fmla="*/ 3222073 w 7559666"/>
              <a:gd name="connsiteY719" fmla="*/ 3341702 h 5345894"/>
              <a:gd name="connsiteX720" fmla="*/ 3237474 w 7559666"/>
              <a:gd name="connsiteY720" fmla="*/ 3363234 h 5345894"/>
              <a:gd name="connsiteX721" fmla="*/ 3249736 w 7559666"/>
              <a:gd name="connsiteY721" fmla="*/ 3363234 h 5345894"/>
              <a:gd name="connsiteX722" fmla="*/ 3228351 w 7559666"/>
              <a:gd name="connsiteY722" fmla="*/ 3333926 h 5345894"/>
              <a:gd name="connsiteX723" fmla="*/ 3248240 w 7559666"/>
              <a:gd name="connsiteY723" fmla="*/ 3306561 h 5345894"/>
              <a:gd name="connsiteX724" fmla="*/ 3236727 w 7559666"/>
              <a:gd name="connsiteY724" fmla="*/ 3306561 h 5345894"/>
              <a:gd name="connsiteX725" fmla="*/ 3222521 w 7559666"/>
              <a:gd name="connsiteY725" fmla="*/ 3326748 h 5345894"/>
              <a:gd name="connsiteX726" fmla="*/ 3207866 w 7559666"/>
              <a:gd name="connsiteY726" fmla="*/ 3306561 h 5345894"/>
              <a:gd name="connsiteX727" fmla="*/ 3110521 w 7559666"/>
              <a:gd name="connsiteY727" fmla="*/ 3306561 h 5345894"/>
              <a:gd name="connsiteX728" fmla="*/ 3110521 w 7559666"/>
              <a:gd name="connsiteY728" fmla="*/ 3363234 h 5345894"/>
              <a:gd name="connsiteX729" fmla="*/ 3153137 w 7559666"/>
              <a:gd name="connsiteY729" fmla="*/ 3363234 h 5345894"/>
              <a:gd name="connsiteX730" fmla="*/ 3153137 w 7559666"/>
              <a:gd name="connsiteY730" fmla="*/ 3354412 h 5345894"/>
              <a:gd name="connsiteX731" fmla="*/ 3121137 w 7559666"/>
              <a:gd name="connsiteY731" fmla="*/ 3354412 h 5345894"/>
              <a:gd name="connsiteX732" fmla="*/ 3121137 w 7559666"/>
              <a:gd name="connsiteY732" fmla="*/ 3338860 h 5345894"/>
              <a:gd name="connsiteX733" fmla="*/ 3148503 w 7559666"/>
              <a:gd name="connsiteY733" fmla="*/ 3338860 h 5345894"/>
              <a:gd name="connsiteX734" fmla="*/ 3148503 w 7559666"/>
              <a:gd name="connsiteY734" fmla="*/ 3330187 h 5345894"/>
              <a:gd name="connsiteX735" fmla="*/ 3121137 w 7559666"/>
              <a:gd name="connsiteY735" fmla="*/ 3330187 h 5345894"/>
              <a:gd name="connsiteX736" fmla="*/ 3121137 w 7559666"/>
              <a:gd name="connsiteY736" fmla="*/ 3315384 h 5345894"/>
              <a:gd name="connsiteX737" fmla="*/ 3151941 w 7559666"/>
              <a:gd name="connsiteY737" fmla="*/ 3315384 h 5345894"/>
              <a:gd name="connsiteX738" fmla="*/ 3151941 w 7559666"/>
              <a:gd name="connsiteY738" fmla="*/ 3306561 h 5345894"/>
              <a:gd name="connsiteX739" fmla="*/ 2971004 w 7559666"/>
              <a:gd name="connsiteY739" fmla="*/ 3306561 h 5345894"/>
              <a:gd name="connsiteX740" fmla="*/ 2971004 w 7559666"/>
              <a:gd name="connsiteY740" fmla="*/ 3363234 h 5345894"/>
              <a:gd name="connsiteX741" fmla="*/ 3011230 w 7559666"/>
              <a:gd name="connsiteY741" fmla="*/ 3363234 h 5345894"/>
              <a:gd name="connsiteX742" fmla="*/ 3011230 w 7559666"/>
              <a:gd name="connsiteY742" fmla="*/ 3354412 h 5345894"/>
              <a:gd name="connsiteX743" fmla="*/ 2981472 w 7559666"/>
              <a:gd name="connsiteY743" fmla="*/ 3354412 h 5345894"/>
              <a:gd name="connsiteX744" fmla="*/ 2981472 w 7559666"/>
              <a:gd name="connsiteY744" fmla="*/ 3306561 h 5345894"/>
              <a:gd name="connsiteX745" fmla="*/ 2819228 w 7559666"/>
              <a:gd name="connsiteY745" fmla="*/ 3306561 h 5345894"/>
              <a:gd name="connsiteX746" fmla="*/ 2819228 w 7559666"/>
              <a:gd name="connsiteY746" fmla="*/ 3363234 h 5345894"/>
              <a:gd name="connsiteX747" fmla="*/ 2861844 w 7559666"/>
              <a:gd name="connsiteY747" fmla="*/ 3363234 h 5345894"/>
              <a:gd name="connsiteX748" fmla="*/ 2861844 w 7559666"/>
              <a:gd name="connsiteY748" fmla="*/ 3354412 h 5345894"/>
              <a:gd name="connsiteX749" fmla="*/ 2829695 w 7559666"/>
              <a:gd name="connsiteY749" fmla="*/ 3354412 h 5345894"/>
              <a:gd name="connsiteX750" fmla="*/ 2829695 w 7559666"/>
              <a:gd name="connsiteY750" fmla="*/ 3338860 h 5345894"/>
              <a:gd name="connsiteX751" fmla="*/ 2857060 w 7559666"/>
              <a:gd name="connsiteY751" fmla="*/ 3338860 h 5345894"/>
              <a:gd name="connsiteX752" fmla="*/ 2857060 w 7559666"/>
              <a:gd name="connsiteY752" fmla="*/ 3330187 h 5345894"/>
              <a:gd name="connsiteX753" fmla="*/ 2829695 w 7559666"/>
              <a:gd name="connsiteY753" fmla="*/ 3330187 h 5345894"/>
              <a:gd name="connsiteX754" fmla="*/ 2829695 w 7559666"/>
              <a:gd name="connsiteY754" fmla="*/ 3315384 h 5345894"/>
              <a:gd name="connsiteX755" fmla="*/ 2860649 w 7559666"/>
              <a:gd name="connsiteY755" fmla="*/ 3315384 h 5345894"/>
              <a:gd name="connsiteX756" fmla="*/ 2860649 w 7559666"/>
              <a:gd name="connsiteY756" fmla="*/ 3306561 h 5345894"/>
              <a:gd name="connsiteX757" fmla="*/ 2714703 w 7559666"/>
              <a:gd name="connsiteY757" fmla="*/ 3306561 h 5345894"/>
              <a:gd name="connsiteX758" fmla="*/ 2714703 w 7559666"/>
              <a:gd name="connsiteY758" fmla="*/ 3363384 h 5345894"/>
              <a:gd name="connsiteX759" fmla="*/ 2739526 w 7559666"/>
              <a:gd name="connsiteY759" fmla="*/ 3363384 h 5345894"/>
              <a:gd name="connsiteX760" fmla="*/ 2755675 w 7559666"/>
              <a:gd name="connsiteY760" fmla="*/ 3359945 h 5345894"/>
              <a:gd name="connsiteX761" fmla="*/ 2766591 w 7559666"/>
              <a:gd name="connsiteY761" fmla="*/ 3349926 h 5345894"/>
              <a:gd name="connsiteX762" fmla="*/ 2766591 w 7559666"/>
              <a:gd name="connsiteY762" fmla="*/ 3320019 h 5345894"/>
              <a:gd name="connsiteX763" fmla="*/ 2755675 w 7559666"/>
              <a:gd name="connsiteY763" fmla="*/ 3310001 h 5345894"/>
              <a:gd name="connsiteX764" fmla="*/ 2739526 w 7559666"/>
              <a:gd name="connsiteY764" fmla="*/ 3306561 h 5345894"/>
              <a:gd name="connsiteX765" fmla="*/ 3481215 w 7559666"/>
              <a:gd name="connsiteY765" fmla="*/ 3306412 h 5345894"/>
              <a:gd name="connsiteX766" fmla="*/ 3481215 w 7559666"/>
              <a:gd name="connsiteY766" fmla="*/ 3363086 h 5345894"/>
              <a:gd name="connsiteX767" fmla="*/ 3491682 w 7559666"/>
              <a:gd name="connsiteY767" fmla="*/ 3363086 h 5345894"/>
              <a:gd name="connsiteX768" fmla="*/ 3491682 w 7559666"/>
              <a:gd name="connsiteY768" fmla="*/ 3346637 h 5345894"/>
              <a:gd name="connsiteX769" fmla="*/ 3506636 w 7559666"/>
              <a:gd name="connsiteY769" fmla="*/ 3346637 h 5345894"/>
              <a:gd name="connsiteX770" fmla="*/ 3518150 w 7559666"/>
              <a:gd name="connsiteY770" fmla="*/ 3363235 h 5345894"/>
              <a:gd name="connsiteX771" fmla="*/ 3529664 w 7559666"/>
              <a:gd name="connsiteY771" fmla="*/ 3363086 h 5345894"/>
              <a:gd name="connsiteX772" fmla="*/ 3516655 w 7559666"/>
              <a:gd name="connsiteY772" fmla="*/ 3344543 h 5345894"/>
              <a:gd name="connsiteX773" fmla="*/ 3528767 w 7559666"/>
              <a:gd name="connsiteY773" fmla="*/ 3326599 h 5345894"/>
              <a:gd name="connsiteX774" fmla="*/ 3517402 w 7559666"/>
              <a:gd name="connsiteY774" fmla="*/ 3308805 h 5345894"/>
              <a:gd name="connsiteX775" fmla="*/ 3504542 w 7559666"/>
              <a:gd name="connsiteY775" fmla="*/ 3306412 h 5345894"/>
              <a:gd name="connsiteX776" fmla="*/ 4088016 w 7559666"/>
              <a:gd name="connsiteY776" fmla="*/ 3305664 h 5345894"/>
              <a:gd name="connsiteX777" fmla="*/ 4073063 w 7559666"/>
              <a:gd name="connsiteY777" fmla="*/ 3309552 h 5345894"/>
              <a:gd name="connsiteX778" fmla="*/ 4062147 w 7559666"/>
              <a:gd name="connsiteY778" fmla="*/ 3320019 h 5345894"/>
              <a:gd name="connsiteX779" fmla="*/ 4058259 w 7559666"/>
              <a:gd name="connsiteY779" fmla="*/ 3334973 h 5345894"/>
              <a:gd name="connsiteX780" fmla="*/ 4062147 w 7559666"/>
              <a:gd name="connsiteY780" fmla="*/ 3349926 h 5345894"/>
              <a:gd name="connsiteX781" fmla="*/ 4073063 w 7559666"/>
              <a:gd name="connsiteY781" fmla="*/ 3360393 h 5345894"/>
              <a:gd name="connsiteX782" fmla="*/ 4072913 w 7559666"/>
              <a:gd name="connsiteY782" fmla="*/ 3360244 h 5345894"/>
              <a:gd name="connsiteX783" fmla="*/ 4087866 w 7559666"/>
              <a:gd name="connsiteY783" fmla="*/ 3363982 h 5345894"/>
              <a:gd name="connsiteX784" fmla="*/ 4102820 w 7559666"/>
              <a:gd name="connsiteY784" fmla="*/ 3360244 h 5345894"/>
              <a:gd name="connsiteX785" fmla="*/ 4117773 w 7559666"/>
              <a:gd name="connsiteY785" fmla="*/ 3334823 h 5345894"/>
              <a:gd name="connsiteX786" fmla="*/ 4113885 w 7559666"/>
              <a:gd name="connsiteY786" fmla="*/ 3319870 h 5345894"/>
              <a:gd name="connsiteX787" fmla="*/ 4102969 w 7559666"/>
              <a:gd name="connsiteY787" fmla="*/ 3309552 h 5345894"/>
              <a:gd name="connsiteX788" fmla="*/ 4088016 w 7559666"/>
              <a:gd name="connsiteY788" fmla="*/ 3305664 h 5345894"/>
              <a:gd name="connsiteX789" fmla="*/ 3746035 w 7559666"/>
              <a:gd name="connsiteY789" fmla="*/ 3305215 h 5345894"/>
              <a:gd name="connsiteX790" fmla="*/ 3733475 w 7559666"/>
              <a:gd name="connsiteY790" fmla="*/ 3307458 h 5345894"/>
              <a:gd name="connsiteX791" fmla="*/ 3725701 w 7559666"/>
              <a:gd name="connsiteY791" fmla="*/ 3313589 h 5345894"/>
              <a:gd name="connsiteX792" fmla="*/ 3723159 w 7559666"/>
              <a:gd name="connsiteY792" fmla="*/ 3322113 h 5345894"/>
              <a:gd name="connsiteX793" fmla="*/ 3726000 w 7559666"/>
              <a:gd name="connsiteY793" fmla="*/ 3330935 h 5345894"/>
              <a:gd name="connsiteX794" fmla="*/ 3732878 w 7559666"/>
              <a:gd name="connsiteY794" fmla="*/ 3335720 h 5345894"/>
              <a:gd name="connsiteX795" fmla="*/ 3743494 w 7559666"/>
              <a:gd name="connsiteY795" fmla="*/ 3338860 h 5345894"/>
              <a:gd name="connsiteX796" fmla="*/ 3750671 w 7559666"/>
              <a:gd name="connsiteY796" fmla="*/ 3340954 h 5345894"/>
              <a:gd name="connsiteX797" fmla="*/ 3755157 w 7559666"/>
              <a:gd name="connsiteY797" fmla="*/ 3343346 h 5345894"/>
              <a:gd name="connsiteX798" fmla="*/ 3756951 w 7559666"/>
              <a:gd name="connsiteY798" fmla="*/ 3347384 h 5345894"/>
              <a:gd name="connsiteX799" fmla="*/ 3753810 w 7559666"/>
              <a:gd name="connsiteY799" fmla="*/ 3352767 h 5345894"/>
              <a:gd name="connsiteX800" fmla="*/ 3744390 w 7559666"/>
              <a:gd name="connsiteY800" fmla="*/ 3354711 h 5345894"/>
              <a:gd name="connsiteX801" fmla="*/ 3734223 w 7559666"/>
              <a:gd name="connsiteY801" fmla="*/ 3353066 h 5345894"/>
              <a:gd name="connsiteX802" fmla="*/ 3725552 w 7559666"/>
              <a:gd name="connsiteY802" fmla="*/ 3348580 h 5345894"/>
              <a:gd name="connsiteX803" fmla="*/ 3721962 w 7559666"/>
              <a:gd name="connsiteY803" fmla="*/ 3356655 h 5345894"/>
              <a:gd name="connsiteX804" fmla="*/ 3731681 w 7559666"/>
              <a:gd name="connsiteY804" fmla="*/ 3361590 h 5345894"/>
              <a:gd name="connsiteX805" fmla="*/ 3732129 w 7559666"/>
              <a:gd name="connsiteY805" fmla="*/ 3361889 h 5345894"/>
              <a:gd name="connsiteX806" fmla="*/ 3744840 w 7559666"/>
              <a:gd name="connsiteY806" fmla="*/ 3363833 h 5345894"/>
              <a:gd name="connsiteX807" fmla="*/ 3757399 w 7559666"/>
              <a:gd name="connsiteY807" fmla="*/ 3361590 h 5345894"/>
              <a:gd name="connsiteX808" fmla="*/ 3764725 w 7559666"/>
              <a:gd name="connsiteY808" fmla="*/ 3355160 h 5345894"/>
              <a:gd name="connsiteX809" fmla="*/ 3767269 w 7559666"/>
              <a:gd name="connsiteY809" fmla="*/ 3346636 h 5345894"/>
              <a:gd name="connsiteX810" fmla="*/ 3764427 w 7559666"/>
              <a:gd name="connsiteY810" fmla="*/ 3337963 h 5345894"/>
              <a:gd name="connsiteX811" fmla="*/ 3757399 w 7559666"/>
              <a:gd name="connsiteY811" fmla="*/ 3333028 h 5345894"/>
              <a:gd name="connsiteX812" fmla="*/ 3747082 w 7559666"/>
              <a:gd name="connsiteY812" fmla="*/ 3330038 h 5345894"/>
              <a:gd name="connsiteX813" fmla="*/ 3739757 w 7559666"/>
              <a:gd name="connsiteY813" fmla="*/ 3327944 h 5345894"/>
              <a:gd name="connsiteX814" fmla="*/ 3735420 w 7559666"/>
              <a:gd name="connsiteY814" fmla="*/ 3325552 h 5345894"/>
              <a:gd name="connsiteX815" fmla="*/ 3733626 w 7559666"/>
              <a:gd name="connsiteY815" fmla="*/ 3321664 h 5345894"/>
              <a:gd name="connsiteX816" fmla="*/ 3736615 w 7559666"/>
              <a:gd name="connsiteY816" fmla="*/ 3315982 h 5345894"/>
              <a:gd name="connsiteX817" fmla="*/ 3745886 w 7559666"/>
              <a:gd name="connsiteY817" fmla="*/ 3313888 h 5345894"/>
              <a:gd name="connsiteX818" fmla="*/ 3753810 w 7559666"/>
              <a:gd name="connsiteY818" fmla="*/ 3315084 h 5345894"/>
              <a:gd name="connsiteX819" fmla="*/ 3761586 w 7559666"/>
              <a:gd name="connsiteY819" fmla="*/ 3318374 h 5345894"/>
              <a:gd name="connsiteX820" fmla="*/ 3764875 w 7559666"/>
              <a:gd name="connsiteY820" fmla="*/ 3310150 h 5345894"/>
              <a:gd name="connsiteX821" fmla="*/ 3756204 w 7559666"/>
              <a:gd name="connsiteY821" fmla="*/ 3306411 h 5345894"/>
              <a:gd name="connsiteX822" fmla="*/ 3746035 w 7559666"/>
              <a:gd name="connsiteY822" fmla="*/ 3305215 h 5345894"/>
              <a:gd name="connsiteX823" fmla="*/ 3056089 w 7559666"/>
              <a:gd name="connsiteY823" fmla="*/ 3302524 h 5345894"/>
              <a:gd name="connsiteX824" fmla="*/ 3051304 w 7559666"/>
              <a:gd name="connsiteY824" fmla="*/ 3304468 h 5345894"/>
              <a:gd name="connsiteX825" fmla="*/ 3049510 w 7559666"/>
              <a:gd name="connsiteY825" fmla="*/ 3309253 h 5345894"/>
              <a:gd name="connsiteX826" fmla="*/ 3050556 w 7559666"/>
              <a:gd name="connsiteY826" fmla="*/ 3312991 h 5345894"/>
              <a:gd name="connsiteX827" fmla="*/ 3053248 w 7559666"/>
              <a:gd name="connsiteY827" fmla="*/ 3315234 h 5345894"/>
              <a:gd name="connsiteX828" fmla="*/ 3050109 w 7559666"/>
              <a:gd name="connsiteY828" fmla="*/ 3327646 h 5345894"/>
              <a:gd name="connsiteX829" fmla="*/ 3056688 w 7559666"/>
              <a:gd name="connsiteY829" fmla="*/ 3327646 h 5345894"/>
              <a:gd name="connsiteX830" fmla="*/ 3060875 w 7559666"/>
              <a:gd name="connsiteY830" fmla="*/ 3316281 h 5345894"/>
              <a:gd name="connsiteX831" fmla="*/ 3062220 w 7559666"/>
              <a:gd name="connsiteY831" fmla="*/ 3312094 h 5345894"/>
              <a:gd name="connsiteX832" fmla="*/ 3062220 w 7559666"/>
              <a:gd name="connsiteY832" fmla="*/ 3309253 h 5345894"/>
              <a:gd name="connsiteX833" fmla="*/ 3060277 w 7559666"/>
              <a:gd name="connsiteY833" fmla="*/ 3304468 h 5345894"/>
              <a:gd name="connsiteX834" fmla="*/ 3060725 w 7559666"/>
              <a:gd name="connsiteY834" fmla="*/ 3304468 h 5345894"/>
              <a:gd name="connsiteX835" fmla="*/ 3056089 w 7559666"/>
              <a:gd name="connsiteY835" fmla="*/ 3302524 h 5345894"/>
              <a:gd name="connsiteX836" fmla="*/ 2832389 w 7559666"/>
              <a:gd name="connsiteY836" fmla="*/ 3241364 h 5345894"/>
              <a:gd name="connsiteX837" fmla="*/ 2850034 w 7559666"/>
              <a:gd name="connsiteY837" fmla="*/ 3241364 h 5345894"/>
              <a:gd name="connsiteX838" fmla="*/ 2862296 w 7559666"/>
              <a:gd name="connsiteY838" fmla="*/ 3249589 h 5345894"/>
              <a:gd name="connsiteX839" fmla="*/ 2861698 w 7559666"/>
              <a:gd name="connsiteY839" fmla="*/ 3249589 h 5345894"/>
              <a:gd name="connsiteX840" fmla="*/ 2849436 w 7559666"/>
              <a:gd name="connsiteY840" fmla="*/ 3257813 h 5345894"/>
              <a:gd name="connsiteX841" fmla="*/ 2832389 w 7559666"/>
              <a:gd name="connsiteY841" fmla="*/ 3257813 h 5345894"/>
              <a:gd name="connsiteX842" fmla="*/ 3498863 w 7559666"/>
              <a:gd name="connsiteY842" fmla="*/ 3220280 h 5345894"/>
              <a:gd name="connsiteX843" fmla="*/ 3519200 w 7559666"/>
              <a:gd name="connsiteY843" fmla="*/ 3220280 h 5345894"/>
              <a:gd name="connsiteX844" fmla="*/ 3526377 w 7559666"/>
              <a:gd name="connsiteY844" fmla="*/ 3227458 h 5345894"/>
              <a:gd name="connsiteX845" fmla="*/ 3528918 w 7559666"/>
              <a:gd name="connsiteY845" fmla="*/ 3237626 h 5345894"/>
              <a:gd name="connsiteX846" fmla="*/ 3526377 w 7559666"/>
              <a:gd name="connsiteY846" fmla="*/ 3247944 h 5345894"/>
              <a:gd name="connsiteX847" fmla="*/ 3519200 w 7559666"/>
              <a:gd name="connsiteY847" fmla="*/ 3254972 h 5345894"/>
              <a:gd name="connsiteX848" fmla="*/ 3498863 w 7559666"/>
              <a:gd name="connsiteY848" fmla="*/ 3254972 h 5345894"/>
              <a:gd name="connsiteX849" fmla="*/ 3491685 w 7559666"/>
              <a:gd name="connsiteY849" fmla="*/ 3247944 h 5345894"/>
              <a:gd name="connsiteX850" fmla="*/ 3489142 w 7559666"/>
              <a:gd name="connsiteY850" fmla="*/ 3237626 h 5345894"/>
              <a:gd name="connsiteX851" fmla="*/ 3491685 w 7559666"/>
              <a:gd name="connsiteY851" fmla="*/ 3227458 h 5345894"/>
              <a:gd name="connsiteX852" fmla="*/ 3498863 w 7559666"/>
              <a:gd name="connsiteY852" fmla="*/ 3220280 h 5345894"/>
              <a:gd name="connsiteX853" fmla="*/ 3321364 w 7559666"/>
              <a:gd name="connsiteY853" fmla="*/ 3219831 h 5345894"/>
              <a:gd name="connsiteX854" fmla="*/ 3332131 w 7559666"/>
              <a:gd name="connsiteY854" fmla="*/ 3244654 h 5345894"/>
              <a:gd name="connsiteX855" fmla="*/ 3310748 w 7559666"/>
              <a:gd name="connsiteY855" fmla="*/ 3244654 h 5345894"/>
              <a:gd name="connsiteX856" fmla="*/ 4717705 w 7559666"/>
              <a:gd name="connsiteY856" fmla="*/ 3218187 h 5345894"/>
              <a:gd name="connsiteX857" fmla="*/ 4730116 w 7559666"/>
              <a:gd name="connsiteY857" fmla="*/ 3218187 h 5345894"/>
              <a:gd name="connsiteX858" fmla="*/ 4740584 w 7559666"/>
              <a:gd name="connsiteY858" fmla="*/ 3221178 h 5345894"/>
              <a:gd name="connsiteX859" fmla="*/ 4739836 w 7559666"/>
              <a:gd name="connsiteY859" fmla="*/ 3221178 h 5345894"/>
              <a:gd name="connsiteX860" fmla="*/ 4743425 w 7559666"/>
              <a:gd name="connsiteY860" fmla="*/ 3229402 h 5345894"/>
              <a:gd name="connsiteX861" fmla="*/ 4739836 w 7559666"/>
              <a:gd name="connsiteY861" fmla="*/ 3237776 h 5345894"/>
              <a:gd name="connsiteX862" fmla="*/ 4729369 w 7559666"/>
              <a:gd name="connsiteY862" fmla="*/ 3240766 h 5345894"/>
              <a:gd name="connsiteX863" fmla="*/ 4717705 w 7559666"/>
              <a:gd name="connsiteY863" fmla="*/ 3240766 h 5345894"/>
              <a:gd name="connsiteX864" fmla="*/ 3664990 w 7559666"/>
              <a:gd name="connsiteY864" fmla="*/ 3218187 h 5345894"/>
              <a:gd name="connsiteX865" fmla="*/ 3677251 w 7559666"/>
              <a:gd name="connsiteY865" fmla="*/ 3218187 h 5345894"/>
              <a:gd name="connsiteX866" fmla="*/ 3687718 w 7559666"/>
              <a:gd name="connsiteY866" fmla="*/ 3221177 h 5345894"/>
              <a:gd name="connsiteX867" fmla="*/ 3691308 w 7559666"/>
              <a:gd name="connsiteY867" fmla="*/ 3229402 h 5345894"/>
              <a:gd name="connsiteX868" fmla="*/ 3687718 w 7559666"/>
              <a:gd name="connsiteY868" fmla="*/ 3237776 h 5345894"/>
              <a:gd name="connsiteX869" fmla="*/ 3677251 w 7559666"/>
              <a:gd name="connsiteY869" fmla="*/ 3240766 h 5345894"/>
              <a:gd name="connsiteX870" fmla="*/ 3664990 w 7559666"/>
              <a:gd name="connsiteY870" fmla="*/ 3240766 h 5345894"/>
              <a:gd name="connsiteX871" fmla="*/ 3116203 w 7559666"/>
              <a:gd name="connsiteY871" fmla="*/ 3218187 h 5345894"/>
              <a:gd name="connsiteX872" fmla="*/ 3128467 w 7559666"/>
              <a:gd name="connsiteY872" fmla="*/ 3218187 h 5345894"/>
              <a:gd name="connsiteX873" fmla="*/ 3138934 w 7559666"/>
              <a:gd name="connsiteY873" fmla="*/ 3221178 h 5345894"/>
              <a:gd name="connsiteX874" fmla="*/ 3142523 w 7559666"/>
              <a:gd name="connsiteY874" fmla="*/ 3229402 h 5345894"/>
              <a:gd name="connsiteX875" fmla="*/ 3138934 w 7559666"/>
              <a:gd name="connsiteY875" fmla="*/ 3237776 h 5345894"/>
              <a:gd name="connsiteX876" fmla="*/ 3128467 w 7559666"/>
              <a:gd name="connsiteY876" fmla="*/ 3240766 h 5345894"/>
              <a:gd name="connsiteX877" fmla="*/ 3116203 w 7559666"/>
              <a:gd name="connsiteY877" fmla="*/ 3240766 h 5345894"/>
              <a:gd name="connsiteX878" fmla="*/ 3917697 w 7559666"/>
              <a:gd name="connsiteY878" fmla="*/ 3218037 h 5345894"/>
              <a:gd name="connsiteX879" fmla="*/ 3931455 w 7559666"/>
              <a:gd name="connsiteY879" fmla="*/ 3218037 h 5345894"/>
              <a:gd name="connsiteX880" fmla="*/ 3942371 w 7559666"/>
              <a:gd name="connsiteY880" fmla="*/ 3220430 h 5345894"/>
              <a:gd name="connsiteX881" fmla="*/ 3949698 w 7559666"/>
              <a:gd name="connsiteY881" fmla="*/ 3227308 h 5345894"/>
              <a:gd name="connsiteX882" fmla="*/ 3952240 w 7559666"/>
              <a:gd name="connsiteY882" fmla="*/ 3237476 h 5345894"/>
              <a:gd name="connsiteX883" fmla="*/ 3949698 w 7559666"/>
              <a:gd name="connsiteY883" fmla="*/ 3247794 h 5345894"/>
              <a:gd name="connsiteX884" fmla="*/ 3942371 w 7559666"/>
              <a:gd name="connsiteY884" fmla="*/ 3254523 h 5345894"/>
              <a:gd name="connsiteX885" fmla="*/ 3931455 w 7559666"/>
              <a:gd name="connsiteY885" fmla="*/ 3256916 h 5345894"/>
              <a:gd name="connsiteX886" fmla="*/ 3917697 w 7559666"/>
              <a:gd name="connsiteY886" fmla="*/ 3256916 h 5345894"/>
              <a:gd name="connsiteX887" fmla="*/ 2740575 w 7559666"/>
              <a:gd name="connsiteY887" fmla="*/ 3217738 h 5345894"/>
              <a:gd name="connsiteX888" fmla="*/ 2751491 w 7559666"/>
              <a:gd name="connsiteY888" fmla="*/ 3219831 h 5345894"/>
              <a:gd name="connsiteX889" fmla="*/ 2758519 w 7559666"/>
              <a:gd name="connsiteY889" fmla="*/ 3227009 h 5345894"/>
              <a:gd name="connsiteX890" fmla="*/ 2761211 w 7559666"/>
              <a:gd name="connsiteY890" fmla="*/ 3237476 h 5345894"/>
              <a:gd name="connsiteX891" fmla="*/ 2758519 w 7559666"/>
              <a:gd name="connsiteY891" fmla="*/ 3247794 h 5345894"/>
              <a:gd name="connsiteX892" fmla="*/ 2751491 w 7559666"/>
              <a:gd name="connsiteY892" fmla="*/ 3254822 h 5345894"/>
              <a:gd name="connsiteX893" fmla="*/ 2750893 w 7559666"/>
              <a:gd name="connsiteY893" fmla="*/ 3254374 h 5345894"/>
              <a:gd name="connsiteX894" fmla="*/ 2740575 w 7559666"/>
              <a:gd name="connsiteY894" fmla="*/ 3256916 h 5345894"/>
              <a:gd name="connsiteX895" fmla="*/ 2731005 w 7559666"/>
              <a:gd name="connsiteY895" fmla="*/ 3254523 h 5345894"/>
              <a:gd name="connsiteX896" fmla="*/ 2723827 w 7559666"/>
              <a:gd name="connsiteY896" fmla="*/ 3247495 h 5345894"/>
              <a:gd name="connsiteX897" fmla="*/ 2721285 w 7559666"/>
              <a:gd name="connsiteY897" fmla="*/ 3237177 h 5345894"/>
              <a:gd name="connsiteX898" fmla="*/ 2723827 w 7559666"/>
              <a:gd name="connsiteY898" fmla="*/ 3227009 h 5345894"/>
              <a:gd name="connsiteX899" fmla="*/ 2730407 w 7559666"/>
              <a:gd name="connsiteY899" fmla="*/ 3220280 h 5345894"/>
              <a:gd name="connsiteX900" fmla="*/ 2740575 w 7559666"/>
              <a:gd name="connsiteY900" fmla="*/ 3217738 h 5345894"/>
              <a:gd name="connsiteX901" fmla="*/ 2847343 w 7559666"/>
              <a:gd name="connsiteY901" fmla="*/ 3216990 h 5345894"/>
              <a:gd name="connsiteX902" fmla="*/ 2855866 w 7559666"/>
              <a:gd name="connsiteY902" fmla="*/ 3218934 h 5345894"/>
              <a:gd name="connsiteX903" fmla="*/ 2857514 w 7559666"/>
              <a:gd name="connsiteY903" fmla="*/ 3220582 h 5345894"/>
              <a:gd name="connsiteX904" fmla="*/ 2855866 w 7559666"/>
              <a:gd name="connsiteY904" fmla="*/ 3230598 h 5345894"/>
              <a:gd name="connsiteX905" fmla="*/ 2847343 w 7559666"/>
              <a:gd name="connsiteY905" fmla="*/ 3232542 h 5345894"/>
              <a:gd name="connsiteX906" fmla="*/ 2832389 w 7559666"/>
              <a:gd name="connsiteY906" fmla="*/ 3232542 h 5345894"/>
              <a:gd name="connsiteX907" fmla="*/ 2832389 w 7559666"/>
              <a:gd name="connsiteY907" fmla="*/ 3217588 h 5345894"/>
              <a:gd name="connsiteX908" fmla="*/ 2821922 w 7559666"/>
              <a:gd name="connsiteY908" fmla="*/ 3209514 h 5345894"/>
              <a:gd name="connsiteX909" fmla="*/ 2821922 w 7559666"/>
              <a:gd name="connsiteY909" fmla="*/ 3266337 h 5345894"/>
              <a:gd name="connsiteX910" fmla="*/ 2850184 w 7559666"/>
              <a:gd name="connsiteY910" fmla="*/ 3266337 h 5345894"/>
              <a:gd name="connsiteX911" fmla="*/ 2866633 w 7559666"/>
              <a:gd name="connsiteY911" fmla="*/ 3262299 h 5345894"/>
              <a:gd name="connsiteX912" fmla="*/ 2872315 w 7559666"/>
              <a:gd name="connsiteY912" fmla="*/ 3250935 h 5345894"/>
              <a:gd name="connsiteX913" fmla="*/ 2869623 w 7559666"/>
              <a:gd name="connsiteY913" fmla="*/ 3241963 h 5345894"/>
              <a:gd name="connsiteX914" fmla="*/ 2869175 w 7559666"/>
              <a:gd name="connsiteY914" fmla="*/ 3241963 h 5345894"/>
              <a:gd name="connsiteX915" fmla="*/ 2861698 w 7559666"/>
              <a:gd name="connsiteY915" fmla="*/ 3236878 h 5345894"/>
              <a:gd name="connsiteX916" fmla="*/ 2867081 w 7559666"/>
              <a:gd name="connsiteY916" fmla="*/ 3231794 h 5345894"/>
              <a:gd name="connsiteX917" fmla="*/ 2869025 w 7559666"/>
              <a:gd name="connsiteY917" fmla="*/ 3224317 h 5345894"/>
              <a:gd name="connsiteX918" fmla="*/ 2863492 w 7559666"/>
              <a:gd name="connsiteY918" fmla="*/ 3213551 h 5345894"/>
              <a:gd name="connsiteX919" fmla="*/ 2848539 w 7559666"/>
              <a:gd name="connsiteY919" fmla="*/ 3209514 h 5345894"/>
              <a:gd name="connsiteX920" fmla="*/ 3316279 w 7559666"/>
              <a:gd name="connsiteY920" fmla="*/ 3209364 h 5345894"/>
              <a:gd name="connsiteX921" fmla="*/ 3290711 w 7559666"/>
              <a:gd name="connsiteY921" fmla="*/ 3266037 h 5345894"/>
              <a:gd name="connsiteX922" fmla="*/ 3301626 w 7559666"/>
              <a:gd name="connsiteY922" fmla="*/ 3266037 h 5345894"/>
              <a:gd name="connsiteX923" fmla="*/ 3307308 w 7559666"/>
              <a:gd name="connsiteY923" fmla="*/ 3252879 h 5345894"/>
              <a:gd name="connsiteX924" fmla="*/ 3335570 w 7559666"/>
              <a:gd name="connsiteY924" fmla="*/ 3252879 h 5345894"/>
              <a:gd name="connsiteX925" fmla="*/ 3341251 w 7559666"/>
              <a:gd name="connsiteY925" fmla="*/ 3266037 h 5345894"/>
              <a:gd name="connsiteX926" fmla="*/ 3352317 w 7559666"/>
              <a:gd name="connsiteY926" fmla="*/ 3266037 h 5345894"/>
              <a:gd name="connsiteX927" fmla="*/ 3326747 w 7559666"/>
              <a:gd name="connsiteY927" fmla="*/ 3209364 h 5345894"/>
              <a:gd name="connsiteX928" fmla="*/ 4707387 w 7559666"/>
              <a:gd name="connsiteY928" fmla="*/ 3209215 h 5345894"/>
              <a:gd name="connsiteX929" fmla="*/ 4707387 w 7559666"/>
              <a:gd name="connsiteY929" fmla="*/ 3266038 h 5345894"/>
              <a:gd name="connsiteX930" fmla="*/ 4717854 w 7559666"/>
              <a:gd name="connsiteY930" fmla="*/ 3266038 h 5345894"/>
              <a:gd name="connsiteX931" fmla="*/ 4717854 w 7559666"/>
              <a:gd name="connsiteY931" fmla="*/ 3249439 h 5345894"/>
              <a:gd name="connsiteX932" fmla="*/ 4732808 w 7559666"/>
              <a:gd name="connsiteY932" fmla="*/ 3249439 h 5345894"/>
              <a:gd name="connsiteX933" fmla="*/ 4744322 w 7559666"/>
              <a:gd name="connsiteY933" fmla="*/ 3266038 h 5345894"/>
              <a:gd name="connsiteX934" fmla="*/ 4755836 w 7559666"/>
              <a:gd name="connsiteY934" fmla="*/ 3266038 h 5345894"/>
              <a:gd name="connsiteX935" fmla="*/ 4742827 w 7559666"/>
              <a:gd name="connsiteY935" fmla="*/ 3247346 h 5345894"/>
              <a:gd name="connsiteX936" fmla="*/ 4751799 w 7559666"/>
              <a:gd name="connsiteY936" fmla="*/ 3240467 h 5345894"/>
              <a:gd name="connsiteX937" fmla="*/ 4754939 w 7559666"/>
              <a:gd name="connsiteY937" fmla="*/ 3229402 h 5345894"/>
              <a:gd name="connsiteX938" fmla="*/ 4751948 w 7559666"/>
              <a:gd name="connsiteY938" fmla="*/ 3218635 h 5345894"/>
              <a:gd name="connsiteX939" fmla="*/ 4743574 w 7559666"/>
              <a:gd name="connsiteY939" fmla="*/ 3211757 h 5345894"/>
              <a:gd name="connsiteX940" fmla="*/ 4730714 w 7559666"/>
              <a:gd name="connsiteY940" fmla="*/ 3209215 h 5345894"/>
              <a:gd name="connsiteX941" fmla="*/ 4613629 w 7559666"/>
              <a:gd name="connsiteY941" fmla="*/ 3209215 h 5345894"/>
              <a:gd name="connsiteX942" fmla="*/ 4613629 w 7559666"/>
              <a:gd name="connsiteY942" fmla="*/ 3266038 h 5345894"/>
              <a:gd name="connsiteX943" fmla="*/ 4656246 w 7559666"/>
              <a:gd name="connsiteY943" fmla="*/ 3266038 h 5345894"/>
              <a:gd name="connsiteX944" fmla="*/ 4656246 w 7559666"/>
              <a:gd name="connsiteY944" fmla="*/ 3257215 h 5345894"/>
              <a:gd name="connsiteX945" fmla="*/ 4624246 w 7559666"/>
              <a:gd name="connsiteY945" fmla="*/ 3257215 h 5345894"/>
              <a:gd name="connsiteX946" fmla="*/ 4624246 w 7559666"/>
              <a:gd name="connsiteY946" fmla="*/ 3241514 h 5345894"/>
              <a:gd name="connsiteX947" fmla="*/ 4651611 w 7559666"/>
              <a:gd name="connsiteY947" fmla="*/ 3241514 h 5345894"/>
              <a:gd name="connsiteX948" fmla="*/ 4651611 w 7559666"/>
              <a:gd name="connsiteY948" fmla="*/ 3232841 h 5345894"/>
              <a:gd name="connsiteX949" fmla="*/ 4624246 w 7559666"/>
              <a:gd name="connsiteY949" fmla="*/ 3232841 h 5345894"/>
              <a:gd name="connsiteX950" fmla="*/ 4624246 w 7559666"/>
              <a:gd name="connsiteY950" fmla="*/ 3218187 h 5345894"/>
              <a:gd name="connsiteX951" fmla="*/ 4655050 w 7559666"/>
              <a:gd name="connsiteY951" fmla="*/ 3218187 h 5345894"/>
              <a:gd name="connsiteX952" fmla="*/ 4655050 w 7559666"/>
              <a:gd name="connsiteY952" fmla="*/ 3209215 h 5345894"/>
              <a:gd name="connsiteX953" fmla="*/ 4548881 w 7559666"/>
              <a:gd name="connsiteY953" fmla="*/ 3209215 h 5345894"/>
              <a:gd name="connsiteX954" fmla="*/ 4548881 w 7559666"/>
              <a:gd name="connsiteY954" fmla="*/ 3266038 h 5345894"/>
              <a:gd name="connsiteX955" fmla="*/ 4559348 w 7559666"/>
              <a:gd name="connsiteY955" fmla="*/ 3266038 h 5345894"/>
              <a:gd name="connsiteX956" fmla="*/ 4559348 w 7559666"/>
              <a:gd name="connsiteY956" fmla="*/ 3209215 h 5345894"/>
              <a:gd name="connsiteX957" fmla="*/ 4453926 w 7559666"/>
              <a:gd name="connsiteY957" fmla="*/ 3209215 h 5345894"/>
              <a:gd name="connsiteX958" fmla="*/ 4453926 w 7559666"/>
              <a:gd name="connsiteY958" fmla="*/ 3218187 h 5345894"/>
              <a:gd name="connsiteX959" fmla="*/ 4472767 w 7559666"/>
              <a:gd name="connsiteY959" fmla="*/ 3218187 h 5345894"/>
              <a:gd name="connsiteX960" fmla="*/ 4472767 w 7559666"/>
              <a:gd name="connsiteY960" fmla="*/ 3266038 h 5345894"/>
              <a:gd name="connsiteX961" fmla="*/ 4483235 w 7559666"/>
              <a:gd name="connsiteY961" fmla="*/ 3266038 h 5345894"/>
              <a:gd name="connsiteX962" fmla="*/ 4483235 w 7559666"/>
              <a:gd name="connsiteY962" fmla="*/ 3218187 h 5345894"/>
              <a:gd name="connsiteX963" fmla="*/ 4502076 w 7559666"/>
              <a:gd name="connsiteY963" fmla="*/ 3218187 h 5345894"/>
              <a:gd name="connsiteX964" fmla="*/ 4502076 w 7559666"/>
              <a:gd name="connsiteY964" fmla="*/ 3209215 h 5345894"/>
              <a:gd name="connsiteX965" fmla="*/ 4251607 w 7559666"/>
              <a:gd name="connsiteY965" fmla="*/ 3209215 h 5345894"/>
              <a:gd name="connsiteX966" fmla="*/ 4251607 w 7559666"/>
              <a:gd name="connsiteY966" fmla="*/ 3266038 h 5345894"/>
              <a:gd name="connsiteX967" fmla="*/ 4261626 w 7559666"/>
              <a:gd name="connsiteY967" fmla="*/ 3266038 h 5345894"/>
              <a:gd name="connsiteX968" fmla="*/ 4261626 w 7559666"/>
              <a:gd name="connsiteY968" fmla="*/ 3228954 h 5345894"/>
              <a:gd name="connsiteX969" fmla="*/ 4280318 w 7559666"/>
              <a:gd name="connsiteY969" fmla="*/ 3259608 h 5345894"/>
              <a:gd name="connsiteX970" fmla="*/ 4285103 w 7559666"/>
              <a:gd name="connsiteY970" fmla="*/ 3259608 h 5345894"/>
              <a:gd name="connsiteX971" fmla="*/ 4303645 w 7559666"/>
              <a:gd name="connsiteY971" fmla="*/ 3228355 h 5345894"/>
              <a:gd name="connsiteX972" fmla="*/ 4303794 w 7559666"/>
              <a:gd name="connsiteY972" fmla="*/ 3266038 h 5345894"/>
              <a:gd name="connsiteX973" fmla="*/ 4313664 w 7559666"/>
              <a:gd name="connsiteY973" fmla="*/ 3266038 h 5345894"/>
              <a:gd name="connsiteX974" fmla="*/ 4313664 w 7559666"/>
              <a:gd name="connsiteY974" fmla="*/ 3209215 h 5345894"/>
              <a:gd name="connsiteX975" fmla="*/ 4304991 w 7559666"/>
              <a:gd name="connsiteY975" fmla="*/ 3209215 h 5345894"/>
              <a:gd name="connsiteX976" fmla="*/ 4282860 w 7559666"/>
              <a:gd name="connsiteY976" fmla="*/ 3246898 h 5345894"/>
              <a:gd name="connsiteX977" fmla="*/ 4260280 w 7559666"/>
              <a:gd name="connsiteY977" fmla="*/ 3209215 h 5345894"/>
              <a:gd name="connsiteX978" fmla="*/ 4012950 w 7559666"/>
              <a:gd name="connsiteY978" fmla="*/ 3209215 h 5345894"/>
              <a:gd name="connsiteX979" fmla="*/ 4012950 w 7559666"/>
              <a:gd name="connsiteY979" fmla="*/ 3266038 h 5345894"/>
              <a:gd name="connsiteX980" fmla="*/ 4055567 w 7559666"/>
              <a:gd name="connsiteY980" fmla="*/ 3266038 h 5345894"/>
              <a:gd name="connsiteX981" fmla="*/ 4055567 w 7559666"/>
              <a:gd name="connsiteY981" fmla="*/ 3257215 h 5345894"/>
              <a:gd name="connsiteX982" fmla="*/ 4023567 w 7559666"/>
              <a:gd name="connsiteY982" fmla="*/ 3257215 h 5345894"/>
              <a:gd name="connsiteX983" fmla="*/ 4023567 w 7559666"/>
              <a:gd name="connsiteY983" fmla="*/ 3241514 h 5345894"/>
              <a:gd name="connsiteX984" fmla="*/ 4050932 w 7559666"/>
              <a:gd name="connsiteY984" fmla="*/ 3241514 h 5345894"/>
              <a:gd name="connsiteX985" fmla="*/ 4050932 w 7559666"/>
              <a:gd name="connsiteY985" fmla="*/ 3232841 h 5345894"/>
              <a:gd name="connsiteX986" fmla="*/ 4023567 w 7559666"/>
              <a:gd name="connsiteY986" fmla="*/ 3232841 h 5345894"/>
              <a:gd name="connsiteX987" fmla="*/ 4023567 w 7559666"/>
              <a:gd name="connsiteY987" fmla="*/ 3218187 h 5345894"/>
              <a:gd name="connsiteX988" fmla="*/ 4054371 w 7559666"/>
              <a:gd name="connsiteY988" fmla="*/ 3218187 h 5345894"/>
              <a:gd name="connsiteX989" fmla="*/ 4054371 w 7559666"/>
              <a:gd name="connsiteY989" fmla="*/ 3209215 h 5345894"/>
              <a:gd name="connsiteX990" fmla="*/ 3906931 w 7559666"/>
              <a:gd name="connsiteY990" fmla="*/ 3209215 h 5345894"/>
              <a:gd name="connsiteX991" fmla="*/ 3906931 w 7559666"/>
              <a:gd name="connsiteY991" fmla="*/ 3266187 h 5345894"/>
              <a:gd name="connsiteX992" fmla="*/ 3931754 w 7559666"/>
              <a:gd name="connsiteY992" fmla="*/ 3266187 h 5345894"/>
              <a:gd name="connsiteX993" fmla="*/ 3947903 w 7559666"/>
              <a:gd name="connsiteY993" fmla="*/ 3262598 h 5345894"/>
              <a:gd name="connsiteX994" fmla="*/ 3958819 w 7559666"/>
              <a:gd name="connsiteY994" fmla="*/ 3252729 h 5345894"/>
              <a:gd name="connsiteX995" fmla="*/ 3962707 w 7559666"/>
              <a:gd name="connsiteY995" fmla="*/ 3237776 h 5345894"/>
              <a:gd name="connsiteX996" fmla="*/ 3958819 w 7559666"/>
              <a:gd name="connsiteY996" fmla="*/ 3222822 h 5345894"/>
              <a:gd name="connsiteX997" fmla="*/ 3947903 w 7559666"/>
              <a:gd name="connsiteY997" fmla="*/ 3212803 h 5345894"/>
              <a:gd name="connsiteX998" fmla="*/ 3931754 w 7559666"/>
              <a:gd name="connsiteY998" fmla="*/ 3209215 h 5345894"/>
              <a:gd name="connsiteX999" fmla="*/ 3752615 w 7559666"/>
              <a:gd name="connsiteY999" fmla="*/ 3209215 h 5345894"/>
              <a:gd name="connsiteX1000" fmla="*/ 3752615 w 7559666"/>
              <a:gd name="connsiteY1000" fmla="*/ 3266038 h 5345894"/>
              <a:gd name="connsiteX1001" fmla="*/ 3795228 w 7559666"/>
              <a:gd name="connsiteY1001" fmla="*/ 3266038 h 5345894"/>
              <a:gd name="connsiteX1002" fmla="*/ 3795228 w 7559666"/>
              <a:gd name="connsiteY1002" fmla="*/ 3257215 h 5345894"/>
              <a:gd name="connsiteX1003" fmla="*/ 3763231 w 7559666"/>
              <a:gd name="connsiteY1003" fmla="*/ 3257215 h 5345894"/>
              <a:gd name="connsiteX1004" fmla="*/ 3763231 w 7559666"/>
              <a:gd name="connsiteY1004" fmla="*/ 3241514 h 5345894"/>
              <a:gd name="connsiteX1005" fmla="*/ 3790593 w 7559666"/>
              <a:gd name="connsiteY1005" fmla="*/ 3241514 h 5345894"/>
              <a:gd name="connsiteX1006" fmla="*/ 3790593 w 7559666"/>
              <a:gd name="connsiteY1006" fmla="*/ 3232841 h 5345894"/>
              <a:gd name="connsiteX1007" fmla="*/ 3763231 w 7559666"/>
              <a:gd name="connsiteY1007" fmla="*/ 3232841 h 5345894"/>
              <a:gd name="connsiteX1008" fmla="*/ 3763231 w 7559666"/>
              <a:gd name="connsiteY1008" fmla="*/ 3218187 h 5345894"/>
              <a:gd name="connsiteX1009" fmla="*/ 3794032 w 7559666"/>
              <a:gd name="connsiteY1009" fmla="*/ 3218187 h 5345894"/>
              <a:gd name="connsiteX1010" fmla="*/ 3794032 w 7559666"/>
              <a:gd name="connsiteY1010" fmla="*/ 3209215 h 5345894"/>
              <a:gd name="connsiteX1011" fmla="*/ 3654374 w 7559666"/>
              <a:gd name="connsiteY1011" fmla="*/ 3209215 h 5345894"/>
              <a:gd name="connsiteX1012" fmla="*/ 3654374 w 7559666"/>
              <a:gd name="connsiteY1012" fmla="*/ 3266038 h 5345894"/>
              <a:gd name="connsiteX1013" fmla="*/ 3664990 w 7559666"/>
              <a:gd name="connsiteY1013" fmla="*/ 3266038 h 5345894"/>
              <a:gd name="connsiteX1014" fmla="*/ 3664990 w 7559666"/>
              <a:gd name="connsiteY1014" fmla="*/ 3249439 h 5345894"/>
              <a:gd name="connsiteX1015" fmla="*/ 3679943 w 7559666"/>
              <a:gd name="connsiteY1015" fmla="*/ 3249439 h 5345894"/>
              <a:gd name="connsiteX1016" fmla="*/ 3691606 w 7559666"/>
              <a:gd name="connsiteY1016" fmla="*/ 3266038 h 5345894"/>
              <a:gd name="connsiteX1017" fmla="*/ 3702972 w 7559666"/>
              <a:gd name="connsiteY1017" fmla="*/ 3266038 h 5345894"/>
              <a:gd name="connsiteX1018" fmla="*/ 3689812 w 7559666"/>
              <a:gd name="connsiteY1018" fmla="*/ 3247346 h 5345894"/>
              <a:gd name="connsiteX1019" fmla="*/ 3698783 w 7559666"/>
              <a:gd name="connsiteY1019" fmla="*/ 3240467 h 5345894"/>
              <a:gd name="connsiteX1020" fmla="*/ 3701925 w 7559666"/>
              <a:gd name="connsiteY1020" fmla="*/ 3229402 h 5345894"/>
              <a:gd name="connsiteX1021" fmla="*/ 3699084 w 7559666"/>
              <a:gd name="connsiteY1021" fmla="*/ 3218635 h 5345894"/>
              <a:gd name="connsiteX1022" fmla="*/ 3690559 w 7559666"/>
              <a:gd name="connsiteY1022" fmla="*/ 3211757 h 5345894"/>
              <a:gd name="connsiteX1023" fmla="*/ 3677850 w 7559666"/>
              <a:gd name="connsiteY1023" fmla="*/ 3209215 h 5345894"/>
              <a:gd name="connsiteX1024" fmla="*/ 3589629 w 7559666"/>
              <a:gd name="connsiteY1024" fmla="*/ 3209215 h 5345894"/>
              <a:gd name="connsiteX1025" fmla="*/ 3589629 w 7559666"/>
              <a:gd name="connsiteY1025" fmla="*/ 3266038 h 5345894"/>
              <a:gd name="connsiteX1026" fmla="*/ 3600096 w 7559666"/>
              <a:gd name="connsiteY1026" fmla="*/ 3266038 h 5345894"/>
              <a:gd name="connsiteX1027" fmla="*/ 3600096 w 7559666"/>
              <a:gd name="connsiteY1027" fmla="*/ 3209215 h 5345894"/>
              <a:gd name="connsiteX1028" fmla="*/ 3388356 w 7559666"/>
              <a:gd name="connsiteY1028" fmla="*/ 3209215 h 5345894"/>
              <a:gd name="connsiteX1029" fmla="*/ 3388356 w 7559666"/>
              <a:gd name="connsiteY1029" fmla="*/ 3218187 h 5345894"/>
              <a:gd name="connsiteX1030" fmla="*/ 3407197 w 7559666"/>
              <a:gd name="connsiteY1030" fmla="*/ 3218187 h 5345894"/>
              <a:gd name="connsiteX1031" fmla="*/ 3407197 w 7559666"/>
              <a:gd name="connsiteY1031" fmla="*/ 3266038 h 5345894"/>
              <a:gd name="connsiteX1032" fmla="*/ 3417664 w 7559666"/>
              <a:gd name="connsiteY1032" fmla="*/ 3266038 h 5345894"/>
              <a:gd name="connsiteX1033" fmla="*/ 3417664 w 7559666"/>
              <a:gd name="connsiteY1033" fmla="*/ 3218187 h 5345894"/>
              <a:gd name="connsiteX1034" fmla="*/ 3436504 w 7559666"/>
              <a:gd name="connsiteY1034" fmla="*/ 3218187 h 5345894"/>
              <a:gd name="connsiteX1035" fmla="*/ 3436504 w 7559666"/>
              <a:gd name="connsiteY1035" fmla="*/ 3209215 h 5345894"/>
              <a:gd name="connsiteX1036" fmla="*/ 3195756 w 7559666"/>
              <a:gd name="connsiteY1036" fmla="*/ 3209215 h 5345894"/>
              <a:gd name="connsiteX1037" fmla="*/ 3220579 w 7559666"/>
              <a:gd name="connsiteY1037" fmla="*/ 3266038 h 5345894"/>
              <a:gd name="connsiteX1038" fmla="*/ 3230896 w 7559666"/>
              <a:gd name="connsiteY1038" fmla="*/ 3266038 h 5345894"/>
              <a:gd name="connsiteX1039" fmla="*/ 3255719 w 7559666"/>
              <a:gd name="connsiteY1039" fmla="*/ 3209215 h 5345894"/>
              <a:gd name="connsiteX1040" fmla="*/ 3245101 w 7559666"/>
              <a:gd name="connsiteY1040" fmla="*/ 3209215 h 5345894"/>
              <a:gd name="connsiteX1041" fmla="*/ 3226110 w 7559666"/>
              <a:gd name="connsiteY1041" fmla="*/ 3253029 h 5345894"/>
              <a:gd name="connsiteX1042" fmla="*/ 3207121 w 7559666"/>
              <a:gd name="connsiteY1042" fmla="*/ 3209215 h 5345894"/>
              <a:gd name="connsiteX1043" fmla="*/ 3105589 w 7559666"/>
              <a:gd name="connsiteY1043" fmla="*/ 3209215 h 5345894"/>
              <a:gd name="connsiteX1044" fmla="*/ 3105589 w 7559666"/>
              <a:gd name="connsiteY1044" fmla="*/ 3266038 h 5345894"/>
              <a:gd name="connsiteX1045" fmla="*/ 3116203 w 7559666"/>
              <a:gd name="connsiteY1045" fmla="*/ 3266038 h 5345894"/>
              <a:gd name="connsiteX1046" fmla="*/ 3116203 w 7559666"/>
              <a:gd name="connsiteY1046" fmla="*/ 3249439 h 5345894"/>
              <a:gd name="connsiteX1047" fmla="*/ 3131158 w 7559666"/>
              <a:gd name="connsiteY1047" fmla="*/ 3249439 h 5345894"/>
              <a:gd name="connsiteX1048" fmla="*/ 3142822 w 7559666"/>
              <a:gd name="connsiteY1048" fmla="*/ 3266038 h 5345894"/>
              <a:gd name="connsiteX1049" fmla="*/ 3154484 w 7559666"/>
              <a:gd name="connsiteY1049" fmla="*/ 3266038 h 5345894"/>
              <a:gd name="connsiteX1050" fmla="*/ 3141476 w 7559666"/>
              <a:gd name="connsiteY1050" fmla="*/ 3247346 h 5345894"/>
              <a:gd name="connsiteX1051" fmla="*/ 3150448 w 7559666"/>
              <a:gd name="connsiteY1051" fmla="*/ 3240467 h 5345894"/>
              <a:gd name="connsiteX1052" fmla="*/ 3153587 w 7559666"/>
              <a:gd name="connsiteY1052" fmla="*/ 3229402 h 5345894"/>
              <a:gd name="connsiteX1053" fmla="*/ 3150598 w 7559666"/>
              <a:gd name="connsiteY1053" fmla="*/ 3218635 h 5345894"/>
              <a:gd name="connsiteX1054" fmla="*/ 3142224 w 7559666"/>
              <a:gd name="connsiteY1054" fmla="*/ 3211757 h 5345894"/>
              <a:gd name="connsiteX1055" fmla="*/ 3129364 w 7559666"/>
              <a:gd name="connsiteY1055" fmla="*/ 3209215 h 5345894"/>
              <a:gd name="connsiteX1056" fmla="*/ 3012428 w 7559666"/>
              <a:gd name="connsiteY1056" fmla="*/ 3209215 h 5345894"/>
              <a:gd name="connsiteX1057" fmla="*/ 3012428 w 7559666"/>
              <a:gd name="connsiteY1057" fmla="*/ 3266038 h 5345894"/>
              <a:gd name="connsiteX1058" fmla="*/ 3054895 w 7559666"/>
              <a:gd name="connsiteY1058" fmla="*/ 3266038 h 5345894"/>
              <a:gd name="connsiteX1059" fmla="*/ 3054895 w 7559666"/>
              <a:gd name="connsiteY1059" fmla="*/ 3257215 h 5345894"/>
              <a:gd name="connsiteX1060" fmla="*/ 3022896 w 7559666"/>
              <a:gd name="connsiteY1060" fmla="*/ 3257215 h 5345894"/>
              <a:gd name="connsiteX1061" fmla="*/ 3022896 w 7559666"/>
              <a:gd name="connsiteY1061" fmla="*/ 3241514 h 5345894"/>
              <a:gd name="connsiteX1062" fmla="*/ 3050259 w 7559666"/>
              <a:gd name="connsiteY1062" fmla="*/ 3241514 h 5345894"/>
              <a:gd name="connsiteX1063" fmla="*/ 3050259 w 7559666"/>
              <a:gd name="connsiteY1063" fmla="*/ 3232841 h 5345894"/>
              <a:gd name="connsiteX1064" fmla="*/ 3022896 w 7559666"/>
              <a:gd name="connsiteY1064" fmla="*/ 3232841 h 5345894"/>
              <a:gd name="connsiteX1065" fmla="*/ 3022896 w 7559666"/>
              <a:gd name="connsiteY1065" fmla="*/ 3218187 h 5345894"/>
              <a:gd name="connsiteX1066" fmla="*/ 3053850 w 7559666"/>
              <a:gd name="connsiteY1066" fmla="*/ 3218187 h 5345894"/>
              <a:gd name="connsiteX1067" fmla="*/ 3053850 w 7559666"/>
              <a:gd name="connsiteY1067" fmla="*/ 3209215 h 5345894"/>
              <a:gd name="connsiteX1068" fmla="*/ 4367944 w 7559666"/>
              <a:gd name="connsiteY1068" fmla="*/ 3208915 h 5345894"/>
              <a:gd name="connsiteX1069" fmla="*/ 4367944 w 7559666"/>
              <a:gd name="connsiteY1069" fmla="*/ 3265738 h 5345894"/>
              <a:gd name="connsiteX1070" fmla="*/ 4410561 w 7559666"/>
              <a:gd name="connsiteY1070" fmla="*/ 3265738 h 5345894"/>
              <a:gd name="connsiteX1071" fmla="*/ 4410561 w 7559666"/>
              <a:gd name="connsiteY1071" fmla="*/ 3256916 h 5345894"/>
              <a:gd name="connsiteX1072" fmla="*/ 4378561 w 7559666"/>
              <a:gd name="connsiteY1072" fmla="*/ 3256916 h 5345894"/>
              <a:gd name="connsiteX1073" fmla="*/ 4378561 w 7559666"/>
              <a:gd name="connsiteY1073" fmla="*/ 3241962 h 5345894"/>
              <a:gd name="connsiteX1074" fmla="*/ 4405926 w 7559666"/>
              <a:gd name="connsiteY1074" fmla="*/ 3241962 h 5345894"/>
              <a:gd name="connsiteX1075" fmla="*/ 4405926 w 7559666"/>
              <a:gd name="connsiteY1075" fmla="*/ 3232841 h 5345894"/>
              <a:gd name="connsiteX1076" fmla="*/ 4378561 w 7559666"/>
              <a:gd name="connsiteY1076" fmla="*/ 3232841 h 5345894"/>
              <a:gd name="connsiteX1077" fmla="*/ 4378561 w 7559666"/>
              <a:gd name="connsiteY1077" fmla="*/ 3217887 h 5345894"/>
              <a:gd name="connsiteX1078" fmla="*/ 4409365 w 7559666"/>
              <a:gd name="connsiteY1078" fmla="*/ 3217887 h 5345894"/>
              <a:gd name="connsiteX1079" fmla="*/ 4409365 w 7559666"/>
              <a:gd name="connsiteY1079" fmla="*/ 3208915 h 5345894"/>
              <a:gd name="connsiteX1080" fmla="*/ 4824322 w 7559666"/>
              <a:gd name="connsiteY1080" fmla="*/ 3208467 h 5345894"/>
              <a:gd name="connsiteX1081" fmla="*/ 4811761 w 7559666"/>
              <a:gd name="connsiteY1081" fmla="*/ 3210710 h 5345894"/>
              <a:gd name="connsiteX1082" fmla="*/ 4804135 w 7559666"/>
              <a:gd name="connsiteY1082" fmla="*/ 3216841 h 5345894"/>
              <a:gd name="connsiteX1083" fmla="*/ 4801593 w 7559666"/>
              <a:gd name="connsiteY1083" fmla="*/ 3225365 h 5345894"/>
              <a:gd name="connsiteX1084" fmla="*/ 4804434 w 7559666"/>
              <a:gd name="connsiteY1084" fmla="*/ 3234337 h 5345894"/>
              <a:gd name="connsiteX1085" fmla="*/ 4811312 w 7559666"/>
              <a:gd name="connsiteY1085" fmla="*/ 3239122 h 5345894"/>
              <a:gd name="connsiteX1086" fmla="*/ 4821780 w 7559666"/>
              <a:gd name="connsiteY1086" fmla="*/ 3242262 h 5345894"/>
              <a:gd name="connsiteX1087" fmla="*/ 4829107 w 7559666"/>
              <a:gd name="connsiteY1087" fmla="*/ 3244206 h 5345894"/>
              <a:gd name="connsiteX1088" fmla="*/ 4833444 w 7559666"/>
              <a:gd name="connsiteY1088" fmla="*/ 3246748 h 5345894"/>
              <a:gd name="connsiteX1089" fmla="*/ 4835238 w 7559666"/>
              <a:gd name="connsiteY1089" fmla="*/ 3250636 h 5345894"/>
              <a:gd name="connsiteX1090" fmla="*/ 4832098 w 7559666"/>
              <a:gd name="connsiteY1090" fmla="*/ 3256019 h 5345894"/>
              <a:gd name="connsiteX1091" fmla="*/ 4822677 w 7559666"/>
              <a:gd name="connsiteY1091" fmla="*/ 3258113 h 5345894"/>
              <a:gd name="connsiteX1092" fmla="*/ 4812509 w 7559666"/>
              <a:gd name="connsiteY1092" fmla="*/ 3256318 h 5345894"/>
              <a:gd name="connsiteX1093" fmla="*/ 4803985 w 7559666"/>
              <a:gd name="connsiteY1093" fmla="*/ 3251832 h 5345894"/>
              <a:gd name="connsiteX1094" fmla="*/ 4800247 w 7559666"/>
              <a:gd name="connsiteY1094" fmla="*/ 3260056 h 5345894"/>
              <a:gd name="connsiteX1095" fmla="*/ 4809967 w 7559666"/>
              <a:gd name="connsiteY1095" fmla="*/ 3264991 h 5345894"/>
              <a:gd name="connsiteX1096" fmla="*/ 4822677 w 7559666"/>
              <a:gd name="connsiteY1096" fmla="*/ 3266786 h 5345894"/>
              <a:gd name="connsiteX1097" fmla="*/ 4835387 w 7559666"/>
              <a:gd name="connsiteY1097" fmla="*/ 3264543 h 5345894"/>
              <a:gd name="connsiteX1098" fmla="*/ 4843014 w 7559666"/>
              <a:gd name="connsiteY1098" fmla="*/ 3258561 h 5345894"/>
              <a:gd name="connsiteX1099" fmla="*/ 4845556 w 7559666"/>
              <a:gd name="connsiteY1099" fmla="*/ 3250038 h 5345894"/>
              <a:gd name="connsiteX1100" fmla="*/ 4842715 w 7559666"/>
              <a:gd name="connsiteY1100" fmla="*/ 3241215 h 5345894"/>
              <a:gd name="connsiteX1101" fmla="*/ 4835836 w 7559666"/>
              <a:gd name="connsiteY1101" fmla="*/ 3236430 h 5345894"/>
              <a:gd name="connsiteX1102" fmla="*/ 4825369 w 7559666"/>
              <a:gd name="connsiteY1102" fmla="*/ 3233290 h 5345894"/>
              <a:gd name="connsiteX1103" fmla="*/ 4818191 w 7559666"/>
              <a:gd name="connsiteY1103" fmla="*/ 3231346 h 5345894"/>
              <a:gd name="connsiteX1104" fmla="*/ 4813705 w 7559666"/>
              <a:gd name="connsiteY1104" fmla="*/ 3228953 h 5345894"/>
              <a:gd name="connsiteX1105" fmla="*/ 4811911 w 7559666"/>
              <a:gd name="connsiteY1105" fmla="*/ 3224916 h 5345894"/>
              <a:gd name="connsiteX1106" fmla="*/ 4815051 w 7559666"/>
              <a:gd name="connsiteY1106" fmla="*/ 3219383 h 5345894"/>
              <a:gd name="connsiteX1107" fmla="*/ 4824322 w 7559666"/>
              <a:gd name="connsiteY1107" fmla="*/ 3217290 h 5345894"/>
              <a:gd name="connsiteX1108" fmla="*/ 4832098 w 7559666"/>
              <a:gd name="connsiteY1108" fmla="*/ 3218336 h 5345894"/>
              <a:gd name="connsiteX1109" fmla="*/ 4839873 w 7559666"/>
              <a:gd name="connsiteY1109" fmla="*/ 3221626 h 5345894"/>
              <a:gd name="connsiteX1110" fmla="*/ 4843313 w 7559666"/>
              <a:gd name="connsiteY1110" fmla="*/ 3213551 h 5345894"/>
              <a:gd name="connsiteX1111" fmla="*/ 4834640 w 7559666"/>
              <a:gd name="connsiteY1111" fmla="*/ 3209813 h 5345894"/>
              <a:gd name="connsiteX1112" fmla="*/ 4824322 w 7559666"/>
              <a:gd name="connsiteY1112" fmla="*/ 3208467 h 5345894"/>
              <a:gd name="connsiteX1113" fmla="*/ 3508284 w 7559666"/>
              <a:gd name="connsiteY1113" fmla="*/ 3208467 h 5345894"/>
              <a:gd name="connsiteX1114" fmla="*/ 3493330 w 7559666"/>
              <a:gd name="connsiteY1114" fmla="*/ 3212205 h 5345894"/>
              <a:gd name="connsiteX1115" fmla="*/ 3481885 w 7559666"/>
              <a:gd name="connsiteY1115" fmla="*/ 3223649 h 5345894"/>
              <a:gd name="connsiteX1116" fmla="*/ 3493330 w 7559666"/>
              <a:gd name="connsiteY1116" fmla="*/ 3263047 h 5345894"/>
              <a:gd name="connsiteX1117" fmla="*/ 3508284 w 7559666"/>
              <a:gd name="connsiteY1117" fmla="*/ 3266785 h 5345894"/>
              <a:gd name="connsiteX1118" fmla="*/ 3523238 w 7559666"/>
              <a:gd name="connsiteY1118" fmla="*/ 3263047 h 5345894"/>
              <a:gd name="connsiteX1119" fmla="*/ 3534303 w 7559666"/>
              <a:gd name="connsiteY1119" fmla="*/ 3252580 h 5345894"/>
              <a:gd name="connsiteX1120" fmla="*/ 3538192 w 7559666"/>
              <a:gd name="connsiteY1120" fmla="*/ 3237626 h 5345894"/>
              <a:gd name="connsiteX1121" fmla="*/ 3534303 w 7559666"/>
              <a:gd name="connsiteY1121" fmla="*/ 3222673 h 5345894"/>
              <a:gd name="connsiteX1122" fmla="*/ 3523238 w 7559666"/>
              <a:gd name="connsiteY1122" fmla="*/ 3212205 h 5345894"/>
              <a:gd name="connsiteX1123" fmla="*/ 3508284 w 7559666"/>
              <a:gd name="connsiteY1123" fmla="*/ 3208467 h 5345894"/>
              <a:gd name="connsiteX1124" fmla="*/ 2740575 w 7559666"/>
              <a:gd name="connsiteY1124" fmla="*/ 3208317 h 5345894"/>
              <a:gd name="connsiteX1125" fmla="*/ 2725622 w 7559666"/>
              <a:gd name="connsiteY1125" fmla="*/ 3212055 h 5345894"/>
              <a:gd name="connsiteX1126" fmla="*/ 2714706 w 7559666"/>
              <a:gd name="connsiteY1126" fmla="*/ 3222672 h 5345894"/>
              <a:gd name="connsiteX1127" fmla="*/ 2714706 w 7559666"/>
              <a:gd name="connsiteY1127" fmla="*/ 3252579 h 5345894"/>
              <a:gd name="connsiteX1128" fmla="*/ 2725622 w 7559666"/>
              <a:gd name="connsiteY1128" fmla="*/ 3263047 h 5345894"/>
              <a:gd name="connsiteX1129" fmla="*/ 2725622 w 7559666"/>
              <a:gd name="connsiteY1129" fmla="*/ 3262897 h 5345894"/>
              <a:gd name="connsiteX1130" fmla="*/ 2740575 w 7559666"/>
              <a:gd name="connsiteY1130" fmla="*/ 3266635 h 5345894"/>
              <a:gd name="connsiteX1131" fmla="*/ 2755529 w 7559666"/>
              <a:gd name="connsiteY1131" fmla="*/ 3262897 h 5345894"/>
              <a:gd name="connsiteX1132" fmla="*/ 2766445 w 7559666"/>
              <a:gd name="connsiteY1132" fmla="*/ 3252430 h 5345894"/>
              <a:gd name="connsiteX1133" fmla="*/ 2770482 w 7559666"/>
              <a:gd name="connsiteY1133" fmla="*/ 3237476 h 5345894"/>
              <a:gd name="connsiteX1134" fmla="*/ 2766445 w 7559666"/>
              <a:gd name="connsiteY1134" fmla="*/ 3222523 h 5345894"/>
              <a:gd name="connsiteX1135" fmla="*/ 2755529 w 7559666"/>
              <a:gd name="connsiteY1135" fmla="*/ 3212055 h 5345894"/>
              <a:gd name="connsiteX1136" fmla="*/ 2740575 w 7559666"/>
              <a:gd name="connsiteY1136" fmla="*/ 3208317 h 5345894"/>
              <a:gd name="connsiteX1137" fmla="*/ 4125549 w 7559666"/>
              <a:gd name="connsiteY1137" fmla="*/ 3208168 h 5345894"/>
              <a:gd name="connsiteX1138" fmla="*/ 4112839 w 7559666"/>
              <a:gd name="connsiteY1138" fmla="*/ 3210411 h 5345894"/>
              <a:gd name="connsiteX1139" fmla="*/ 4105212 w 7559666"/>
              <a:gd name="connsiteY1139" fmla="*/ 3216542 h 5345894"/>
              <a:gd name="connsiteX1140" fmla="*/ 4102670 w 7559666"/>
              <a:gd name="connsiteY1140" fmla="*/ 3225065 h 5345894"/>
              <a:gd name="connsiteX1141" fmla="*/ 4105511 w 7559666"/>
              <a:gd name="connsiteY1141" fmla="*/ 3234037 h 5345894"/>
              <a:gd name="connsiteX1142" fmla="*/ 4112390 w 7559666"/>
              <a:gd name="connsiteY1142" fmla="*/ 3238822 h 5345894"/>
              <a:gd name="connsiteX1143" fmla="*/ 4122857 w 7559666"/>
              <a:gd name="connsiteY1143" fmla="*/ 3241962 h 5345894"/>
              <a:gd name="connsiteX1144" fmla="*/ 4130185 w 7559666"/>
              <a:gd name="connsiteY1144" fmla="*/ 3244205 h 5345894"/>
              <a:gd name="connsiteX1145" fmla="*/ 4134671 w 7559666"/>
              <a:gd name="connsiteY1145" fmla="*/ 3246747 h 5345894"/>
              <a:gd name="connsiteX1146" fmla="*/ 4136315 w 7559666"/>
              <a:gd name="connsiteY1146" fmla="*/ 3250635 h 5345894"/>
              <a:gd name="connsiteX1147" fmla="*/ 4133175 w 7559666"/>
              <a:gd name="connsiteY1147" fmla="*/ 3256019 h 5345894"/>
              <a:gd name="connsiteX1148" fmla="*/ 4123755 w 7559666"/>
              <a:gd name="connsiteY1148" fmla="*/ 3258112 h 5345894"/>
              <a:gd name="connsiteX1149" fmla="*/ 4113586 w 7559666"/>
              <a:gd name="connsiteY1149" fmla="*/ 3256318 h 5345894"/>
              <a:gd name="connsiteX1150" fmla="*/ 4105063 w 7559666"/>
              <a:gd name="connsiteY1150" fmla="*/ 3251832 h 5345894"/>
              <a:gd name="connsiteX1151" fmla="*/ 4101474 w 7559666"/>
              <a:gd name="connsiteY1151" fmla="*/ 3260056 h 5345894"/>
              <a:gd name="connsiteX1152" fmla="*/ 4111044 w 7559666"/>
              <a:gd name="connsiteY1152" fmla="*/ 3264991 h 5345894"/>
              <a:gd name="connsiteX1153" fmla="*/ 4111044 w 7559666"/>
              <a:gd name="connsiteY1153" fmla="*/ 3264691 h 5345894"/>
              <a:gd name="connsiteX1154" fmla="*/ 4123755 w 7559666"/>
              <a:gd name="connsiteY1154" fmla="*/ 3266486 h 5345894"/>
              <a:gd name="connsiteX1155" fmla="*/ 4136465 w 7559666"/>
              <a:gd name="connsiteY1155" fmla="*/ 3264243 h 5345894"/>
              <a:gd name="connsiteX1156" fmla="*/ 4144241 w 7559666"/>
              <a:gd name="connsiteY1156" fmla="*/ 3258261 h 5345894"/>
              <a:gd name="connsiteX1157" fmla="*/ 4146783 w 7559666"/>
              <a:gd name="connsiteY1157" fmla="*/ 3249738 h 5345894"/>
              <a:gd name="connsiteX1158" fmla="*/ 4143792 w 7559666"/>
              <a:gd name="connsiteY1158" fmla="*/ 3240916 h 5345894"/>
              <a:gd name="connsiteX1159" fmla="*/ 4136914 w 7559666"/>
              <a:gd name="connsiteY1159" fmla="*/ 3236130 h 5345894"/>
              <a:gd name="connsiteX1160" fmla="*/ 4126596 w 7559666"/>
              <a:gd name="connsiteY1160" fmla="*/ 3232990 h 5345894"/>
              <a:gd name="connsiteX1161" fmla="*/ 4119268 w 7559666"/>
              <a:gd name="connsiteY1161" fmla="*/ 3231046 h 5345894"/>
              <a:gd name="connsiteX1162" fmla="*/ 4114783 w 7559666"/>
              <a:gd name="connsiteY1162" fmla="*/ 3228654 h 5345894"/>
              <a:gd name="connsiteX1163" fmla="*/ 4113138 w 7559666"/>
              <a:gd name="connsiteY1163" fmla="*/ 3224616 h 5345894"/>
              <a:gd name="connsiteX1164" fmla="*/ 4116128 w 7559666"/>
              <a:gd name="connsiteY1164" fmla="*/ 3219084 h 5345894"/>
              <a:gd name="connsiteX1165" fmla="*/ 4125399 w 7559666"/>
              <a:gd name="connsiteY1165" fmla="*/ 3216990 h 5345894"/>
              <a:gd name="connsiteX1166" fmla="*/ 4133325 w 7559666"/>
              <a:gd name="connsiteY1166" fmla="*/ 3218037 h 5345894"/>
              <a:gd name="connsiteX1167" fmla="*/ 4141101 w 7559666"/>
              <a:gd name="connsiteY1167" fmla="*/ 3221327 h 5345894"/>
              <a:gd name="connsiteX1168" fmla="*/ 4144390 w 7559666"/>
              <a:gd name="connsiteY1168" fmla="*/ 3213252 h 5345894"/>
              <a:gd name="connsiteX1169" fmla="*/ 4135717 w 7559666"/>
              <a:gd name="connsiteY1169" fmla="*/ 3209513 h 5345894"/>
              <a:gd name="connsiteX1170" fmla="*/ 4125549 w 7559666"/>
              <a:gd name="connsiteY1170" fmla="*/ 3208168 h 5345894"/>
              <a:gd name="connsiteX1171" fmla="*/ 2941848 w 7559666"/>
              <a:gd name="connsiteY1171" fmla="*/ 3208168 h 5345894"/>
              <a:gd name="connsiteX1172" fmla="*/ 2929138 w 7559666"/>
              <a:gd name="connsiteY1172" fmla="*/ 3210411 h 5345894"/>
              <a:gd name="connsiteX1173" fmla="*/ 2921511 w 7559666"/>
              <a:gd name="connsiteY1173" fmla="*/ 3216542 h 5345894"/>
              <a:gd name="connsiteX1174" fmla="*/ 2918969 w 7559666"/>
              <a:gd name="connsiteY1174" fmla="*/ 3225065 h 5345894"/>
              <a:gd name="connsiteX1175" fmla="*/ 2921810 w 7559666"/>
              <a:gd name="connsiteY1175" fmla="*/ 3234037 h 5345894"/>
              <a:gd name="connsiteX1176" fmla="*/ 2928690 w 7559666"/>
              <a:gd name="connsiteY1176" fmla="*/ 3238822 h 5345894"/>
              <a:gd name="connsiteX1177" fmla="*/ 2939156 w 7559666"/>
              <a:gd name="connsiteY1177" fmla="*/ 3241962 h 5345894"/>
              <a:gd name="connsiteX1178" fmla="*/ 2946485 w 7559666"/>
              <a:gd name="connsiteY1178" fmla="*/ 3244205 h 5345894"/>
              <a:gd name="connsiteX1179" fmla="*/ 2950970 w 7559666"/>
              <a:gd name="connsiteY1179" fmla="*/ 3246747 h 5345894"/>
              <a:gd name="connsiteX1180" fmla="*/ 2952614 w 7559666"/>
              <a:gd name="connsiteY1180" fmla="*/ 3250635 h 5345894"/>
              <a:gd name="connsiteX1181" fmla="*/ 2949475 w 7559666"/>
              <a:gd name="connsiteY1181" fmla="*/ 3256019 h 5345894"/>
              <a:gd name="connsiteX1182" fmla="*/ 2940054 w 7559666"/>
              <a:gd name="connsiteY1182" fmla="*/ 3258112 h 5345894"/>
              <a:gd name="connsiteX1183" fmla="*/ 2929885 w 7559666"/>
              <a:gd name="connsiteY1183" fmla="*/ 3256318 h 5345894"/>
              <a:gd name="connsiteX1184" fmla="*/ 2921362 w 7559666"/>
              <a:gd name="connsiteY1184" fmla="*/ 3251832 h 5345894"/>
              <a:gd name="connsiteX1185" fmla="*/ 2917773 w 7559666"/>
              <a:gd name="connsiteY1185" fmla="*/ 3260056 h 5345894"/>
              <a:gd name="connsiteX1186" fmla="*/ 2927343 w 7559666"/>
              <a:gd name="connsiteY1186" fmla="*/ 3264991 h 5345894"/>
              <a:gd name="connsiteX1187" fmla="*/ 2927343 w 7559666"/>
              <a:gd name="connsiteY1187" fmla="*/ 3264691 h 5345894"/>
              <a:gd name="connsiteX1188" fmla="*/ 2940054 w 7559666"/>
              <a:gd name="connsiteY1188" fmla="*/ 3266486 h 5345894"/>
              <a:gd name="connsiteX1189" fmla="*/ 2952765 w 7559666"/>
              <a:gd name="connsiteY1189" fmla="*/ 3264243 h 5345894"/>
              <a:gd name="connsiteX1190" fmla="*/ 2960540 w 7559666"/>
              <a:gd name="connsiteY1190" fmla="*/ 3258261 h 5345894"/>
              <a:gd name="connsiteX1191" fmla="*/ 2963082 w 7559666"/>
              <a:gd name="connsiteY1191" fmla="*/ 3249738 h 5345894"/>
              <a:gd name="connsiteX1192" fmla="*/ 2960091 w 7559666"/>
              <a:gd name="connsiteY1192" fmla="*/ 3240916 h 5345894"/>
              <a:gd name="connsiteX1193" fmla="*/ 2953214 w 7559666"/>
              <a:gd name="connsiteY1193" fmla="*/ 3236130 h 5345894"/>
              <a:gd name="connsiteX1194" fmla="*/ 2942895 w 7559666"/>
              <a:gd name="connsiteY1194" fmla="*/ 3232990 h 5345894"/>
              <a:gd name="connsiteX1195" fmla="*/ 2935568 w 7559666"/>
              <a:gd name="connsiteY1195" fmla="*/ 3231046 h 5345894"/>
              <a:gd name="connsiteX1196" fmla="*/ 2931082 w 7559666"/>
              <a:gd name="connsiteY1196" fmla="*/ 3228654 h 5345894"/>
              <a:gd name="connsiteX1197" fmla="*/ 2929437 w 7559666"/>
              <a:gd name="connsiteY1197" fmla="*/ 3224616 h 5345894"/>
              <a:gd name="connsiteX1198" fmla="*/ 2932428 w 7559666"/>
              <a:gd name="connsiteY1198" fmla="*/ 3219084 h 5345894"/>
              <a:gd name="connsiteX1199" fmla="*/ 2941698 w 7559666"/>
              <a:gd name="connsiteY1199" fmla="*/ 3216990 h 5345894"/>
              <a:gd name="connsiteX1200" fmla="*/ 2949624 w 7559666"/>
              <a:gd name="connsiteY1200" fmla="*/ 3218037 h 5345894"/>
              <a:gd name="connsiteX1201" fmla="*/ 2957401 w 7559666"/>
              <a:gd name="connsiteY1201" fmla="*/ 3221327 h 5345894"/>
              <a:gd name="connsiteX1202" fmla="*/ 2960690 w 7559666"/>
              <a:gd name="connsiteY1202" fmla="*/ 3213252 h 5345894"/>
              <a:gd name="connsiteX1203" fmla="*/ 2952017 w 7559666"/>
              <a:gd name="connsiteY1203" fmla="*/ 3209513 h 5345894"/>
              <a:gd name="connsiteX1204" fmla="*/ 2941848 w 7559666"/>
              <a:gd name="connsiteY1204" fmla="*/ 3208168 h 5345894"/>
              <a:gd name="connsiteX1205" fmla="*/ 4392916 w 7559666"/>
              <a:gd name="connsiteY1205" fmla="*/ 3193214 h 5345894"/>
              <a:gd name="connsiteX1206" fmla="*/ 4382000 w 7559666"/>
              <a:gd name="connsiteY1206" fmla="*/ 3204429 h 5345894"/>
              <a:gd name="connsiteX1207" fmla="*/ 4390823 w 7559666"/>
              <a:gd name="connsiteY1207" fmla="*/ 3204429 h 5345894"/>
              <a:gd name="connsiteX1208" fmla="*/ 4404879 w 7559666"/>
              <a:gd name="connsiteY1208" fmla="*/ 3193214 h 5345894"/>
              <a:gd name="connsiteX1209" fmla="*/ 4701555 w 7559666"/>
              <a:gd name="connsiteY1209" fmla="*/ 2947530 h 5345894"/>
              <a:gd name="connsiteX1210" fmla="*/ 4779462 w 7559666"/>
              <a:gd name="connsiteY1210" fmla="*/ 2947530 h 5345894"/>
              <a:gd name="connsiteX1211" fmla="*/ 4779462 w 7559666"/>
              <a:gd name="connsiteY1211" fmla="*/ 2985362 h 5345894"/>
              <a:gd name="connsiteX1212" fmla="*/ 4748359 w 7559666"/>
              <a:gd name="connsiteY1212" fmla="*/ 3022446 h 5345894"/>
              <a:gd name="connsiteX1213" fmla="*/ 4747911 w 7559666"/>
              <a:gd name="connsiteY1213" fmla="*/ 3022147 h 5345894"/>
              <a:gd name="connsiteX1214" fmla="*/ 4697518 w 7559666"/>
              <a:gd name="connsiteY1214" fmla="*/ 3035157 h 5345894"/>
              <a:gd name="connsiteX1215" fmla="*/ 4652657 w 7559666"/>
              <a:gd name="connsiteY1215" fmla="*/ 3023044 h 5345894"/>
              <a:gd name="connsiteX1216" fmla="*/ 4636358 w 7559666"/>
              <a:gd name="connsiteY1216" fmla="*/ 2990446 h 5345894"/>
              <a:gd name="connsiteX1217" fmla="*/ 4701555 w 7559666"/>
              <a:gd name="connsiteY1217" fmla="*/ 2947530 h 5345894"/>
              <a:gd name="connsiteX1218" fmla="*/ 2882175 w 7559666"/>
              <a:gd name="connsiteY1218" fmla="*/ 2823267 h 5345894"/>
              <a:gd name="connsiteX1219" fmla="*/ 2950961 w 7559666"/>
              <a:gd name="connsiteY1219" fmla="*/ 2851529 h 5345894"/>
              <a:gd name="connsiteX1220" fmla="*/ 2950961 w 7559666"/>
              <a:gd name="connsiteY1220" fmla="*/ 2997624 h 5345894"/>
              <a:gd name="connsiteX1221" fmla="*/ 2950961 w 7559666"/>
              <a:gd name="connsiteY1221" fmla="*/ 2997175 h 5345894"/>
              <a:gd name="connsiteX1222" fmla="*/ 2882175 w 7559666"/>
              <a:gd name="connsiteY1222" fmla="*/ 3024988 h 5345894"/>
              <a:gd name="connsiteX1223" fmla="*/ 2813688 w 7559666"/>
              <a:gd name="connsiteY1223" fmla="*/ 2997175 h 5345894"/>
              <a:gd name="connsiteX1224" fmla="*/ 2813688 w 7559666"/>
              <a:gd name="connsiteY1224" fmla="*/ 2851080 h 5345894"/>
              <a:gd name="connsiteX1225" fmla="*/ 2882175 w 7559666"/>
              <a:gd name="connsiteY1225" fmla="*/ 2823267 h 5345894"/>
              <a:gd name="connsiteX1226" fmla="*/ 3952688 w 7559666"/>
              <a:gd name="connsiteY1226" fmla="*/ 2820126 h 5345894"/>
              <a:gd name="connsiteX1227" fmla="*/ 4043904 w 7559666"/>
              <a:gd name="connsiteY1227" fmla="*/ 2898632 h 5345894"/>
              <a:gd name="connsiteX1228" fmla="*/ 3862071 w 7559666"/>
              <a:gd name="connsiteY1228" fmla="*/ 2898632 h 5345894"/>
              <a:gd name="connsiteX1229" fmla="*/ 3891978 w 7559666"/>
              <a:gd name="connsiteY1229" fmla="*/ 2841659 h 5345894"/>
              <a:gd name="connsiteX1230" fmla="*/ 3952688 w 7559666"/>
              <a:gd name="connsiteY1230" fmla="*/ 2820126 h 5345894"/>
              <a:gd name="connsiteX1231" fmla="*/ 3953586 w 7559666"/>
              <a:gd name="connsiteY1231" fmla="*/ 2760612 h 5345894"/>
              <a:gd name="connsiteX1232" fmla="*/ 3867903 w 7559666"/>
              <a:gd name="connsiteY1232" fmla="*/ 2781696 h 5345894"/>
              <a:gd name="connsiteX1233" fmla="*/ 3808089 w 7559666"/>
              <a:gd name="connsiteY1233" fmla="*/ 2840613 h 5345894"/>
              <a:gd name="connsiteX1234" fmla="*/ 3808089 w 7559666"/>
              <a:gd name="connsiteY1234" fmla="*/ 3010783 h 5345894"/>
              <a:gd name="connsiteX1235" fmla="*/ 3870594 w 7559666"/>
              <a:gd name="connsiteY1235" fmla="*/ 3069699 h 5345894"/>
              <a:gd name="connsiteX1236" fmla="*/ 4038970 w 7559666"/>
              <a:gd name="connsiteY1236" fmla="*/ 3077475 h 5345894"/>
              <a:gd name="connsiteX1237" fmla="*/ 4094746 w 7559666"/>
              <a:gd name="connsiteY1237" fmla="*/ 3037549 h 5345894"/>
              <a:gd name="connsiteX1238" fmla="*/ 4054222 w 7559666"/>
              <a:gd name="connsiteY1238" fmla="*/ 2991044 h 5345894"/>
              <a:gd name="connsiteX1239" fmla="*/ 3966745 w 7559666"/>
              <a:gd name="connsiteY1239" fmla="*/ 3026035 h 5345894"/>
              <a:gd name="connsiteX1240" fmla="*/ 3896763 w 7559666"/>
              <a:gd name="connsiteY1240" fmla="*/ 3005250 h 5345894"/>
              <a:gd name="connsiteX1241" fmla="*/ 3862071 w 7559666"/>
              <a:gd name="connsiteY1241" fmla="*/ 2948726 h 5345894"/>
              <a:gd name="connsiteX1242" fmla="*/ 4114484 w 7559666"/>
              <a:gd name="connsiteY1242" fmla="*/ 2948726 h 5345894"/>
              <a:gd name="connsiteX1243" fmla="*/ 4115082 w 7559666"/>
              <a:gd name="connsiteY1243" fmla="*/ 2948726 h 5345894"/>
              <a:gd name="connsiteX1244" fmla="*/ 4116279 w 7559666"/>
              <a:gd name="connsiteY1244" fmla="*/ 2926445 h 5345894"/>
              <a:gd name="connsiteX1245" fmla="*/ 4095793 w 7559666"/>
              <a:gd name="connsiteY1245" fmla="*/ 2840015 h 5345894"/>
              <a:gd name="connsiteX1246" fmla="*/ 4037773 w 7559666"/>
              <a:gd name="connsiteY1246" fmla="*/ 2781397 h 5345894"/>
              <a:gd name="connsiteX1247" fmla="*/ 3953586 w 7559666"/>
              <a:gd name="connsiteY1247" fmla="*/ 2760612 h 5345894"/>
              <a:gd name="connsiteX1248" fmla="*/ 4708135 w 7559666"/>
              <a:gd name="connsiteY1248" fmla="*/ 2760014 h 5345894"/>
              <a:gd name="connsiteX1249" fmla="*/ 4633368 w 7559666"/>
              <a:gd name="connsiteY1249" fmla="*/ 2770332 h 5345894"/>
              <a:gd name="connsiteX1250" fmla="*/ 4572358 w 7559666"/>
              <a:gd name="connsiteY1250" fmla="*/ 2800238 h 5345894"/>
              <a:gd name="connsiteX1251" fmla="*/ 4602264 w 7559666"/>
              <a:gd name="connsiteY1251" fmla="*/ 2855117 h 5345894"/>
              <a:gd name="connsiteX1252" fmla="*/ 4647125 w 7559666"/>
              <a:gd name="connsiteY1252" fmla="*/ 2831641 h 5345894"/>
              <a:gd name="connsiteX1253" fmla="*/ 4700508 w 7559666"/>
              <a:gd name="connsiteY1253" fmla="*/ 2823117 h 5345894"/>
              <a:gd name="connsiteX1254" fmla="*/ 4760322 w 7559666"/>
              <a:gd name="connsiteY1254" fmla="*/ 2841360 h 5345894"/>
              <a:gd name="connsiteX1255" fmla="*/ 4780509 w 7559666"/>
              <a:gd name="connsiteY1255" fmla="*/ 2893249 h 5345894"/>
              <a:gd name="connsiteX1256" fmla="*/ 4780509 w 7559666"/>
              <a:gd name="connsiteY1256" fmla="*/ 2898034 h 5345894"/>
              <a:gd name="connsiteX1257" fmla="*/ 4697219 w 7559666"/>
              <a:gd name="connsiteY1257" fmla="*/ 2898034 h 5345894"/>
              <a:gd name="connsiteX1258" fmla="*/ 4594788 w 7559666"/>
              <a:gd name="connsiteY1258" fmla="*/ 2923754 h 5345894"/>
              <a:gd name="connsiteX1259" fmla="*/ 4562937 w 7559666"/>
              <a:gd name="connsiteY1259" fmla="*/ 2993437 h 5345894"/>
              <a:gd name="connsiteX1260" fmla="*/ 4577890 w 7559666"/>
              <a:gd name="connsiteY1260" fmla="*/ 3043232 h 5345894"/>
              <a:gd name="connsiteX1261" fmla="*/ 4619909 w 7559666"/>
              <a:gd name="connsiteY1261" fmla="*/ 3077625 h 5345894"/>
              <a:gd name="connsiteX1262" fmla="*/ 4683312 w 7559666"/>
              <a:gd name="connsiteY1262" fmla="*/ 3090036 h 5345894"/>
              <a:gd name="connsiteX1263" fmla="*/ 4745219 w 7559666"/>
              <a:gd name="connsiteY1263" fmla="*/ 3078821 h 5345894"/>
              <a:gd name="connsiteX1264" fmla="*/ 4784696 w 7559666"/>
              <a:gd name="connsiteY1264" fmla="*/ 3046521 h 5345894"/>
              <a:gd name="connsiteX1265" fmla="*/ 4784696 w 7559666"/>
              <a:gd name="connsiteY1265" fmla="*/ 3085849 h 5345894"/>
              <a:gd name="connsiteX1266" fmla="*/ 4856024 w 7559666"/>
              <a:gd name="connsiteY1266" fmla="*/ 3085849 h 5345894"/>
              <a:gd name="connsiteX1267" fmla="*/ 4856024 w 7559666"/>
              <a:gd name="connsiteY1267" fmla="*/ 2896239 h 5345894"/>
              <a:gd name="connsiteX1268" fmla="*/ 4818192 w 7559666"/>
              <a:gd name="connsiteY1268" fmla="*/ 2793360 h 5345894"/>
              <a:gd name="connsiteX1269" fmla="*/ 4817145 w 7559666"/>
              <a:gd name="connsiteY1269" fmla="*/ 2794257 h 5345894"/>
              <a:gd name="connsiteX1270" fmla="*/ 4708135 w 7559666"/>
              <a:gd name="connsiteY1270" fmla="*/ 2760014 h 5345894"/>
              <a:gd name="connsiteX1271" fmla="*/ 4359121 w 7559666"/>
              <a:gd name="connsiteY1271" fmla="*/ 2759865 h 5345894"/>
              <a:gd name="connsiteX1272" fmla="*/ 4269401 w 7559666"/>
              <a:gd name="connsiteY1272" fmla="*/ 2780949 h 5345894"/>
              <a:gd name="connsiteX1273" fmla="*/ 4207494 w 7559666"/>
              <a:gd name="connsiteY1273" fmla="*/ 2839417 h 5345894"/>
              <a:gd name="connsiteX1274" fmla="*/ 4207494 w 7559666"/>
              <a:gd name="connsiteY1274" fmla="*/ 3010035 h 5345894"/>
              <a:gd name="connsiteX1275" fmla="*/ 4269700 w 7559666"/>
              <a:gd name="connsiteY1275" fmla="*/ 3068952 h 5345894"/>
              <a:gd name="connsiteX1276" fmla="*/ 4271046 w 7559666"/>
              <a:gd name="connsiteY1276" fmla="*/ 3068653 h 5345894"/>
              <a:gd name="connsiteX1277" fmla="*/ 4360766 w 7559666"/>
              <a:gd name="connsiteY1277" fmla="*/ 3089737 h 5345894"/>
              <a:gd name="connsiteX1278" fmla="*/ 4443758 w 7559666"/>
              <a:gd name="connsiteY1278" fmla="*/ 3070148 h 5345894"/>
              <a:gd name="connsiteX1279" fmla="*/ 4498338 w 7559666"/>
              <a:gd name="connsiteY1279" fmla="*/ 3014372 h 5345894"/>
              <a:gd name="connsiteX1280" fmla="*/ 4440319 w 7559666"/>
              <a:gd name="connsiteY1280" fmla="*/ 2980428 h 5345894"/>
              <a:gd name="connsiteX1281" fmla="*/ 4405627 w 7559666"/>
              <a:gd name="connsiteY1281" fmla="*/ 3013923 h 5345894"/>
              <a:gd name="connsiteX1282" fmla="*/ 4289738 w 7559666"/>
              <a:gd name="connsiteY1282" fmla="*/ 2997624 h 5345894"/>
              <a:gd name="connsiteX1283" fmla="*/ 4289738 w 7559666"/>
              <a:gd name="connsiteY1283" fmla="*/ 2850931 h 5345894"/>
              <a:gd name="connsiteX1284" fmla="*/ 4359720 w 7559666"/>
              <a:gd name="connsiteY1284" fmla="*/ 2823566 h 5345894"/>
              <a:gd name="connsiteX1285" fmla="*/ 4404580 w 7559666"/>
              <a:gd name="connsiteY1285" fmla="*/ 2834632 h 5345894"/>
              <a:gd name="connsiteX1286" fmla="*/ 4439272 w 7559666"/>
              <a:gd name="connsiteY1286" fmla="*/ 2868127 h 5345894"/>
              <a:gd name="connsiteX1287" fmla="*/ 4496693 w 7559666"/>
              <a:gd name="connsiteY1287" fmla="*/ 2834632 h 5345894"/>
              <a:gd name="connsiteX1288" fmla="*/ 4442711 w 7559666"/>
              <a:gd name="connsiteY1288" fmla="*/ 2779155 h 5345894"/>
              <a:gd name="connsiteX1289" fmla="*/ 4359121 w 7559666"/>
              <a:gd name="connsiteY1289" fmla="*/ 2759865 h 5345894"/>
              <a:gd name="connsiteX1290" fmla="*/ 3327936 w 7559666"/>
              <a:gd name="connsiteY1290" fmla="*/ 2759864 h 5345894"/>
              <a:gd name="connsiteX1291" fmla="*/ 3268122 w 7559666"/>
              <a:gd name="connsiteY1291" fmla="*/ 2771229 h 5345894"/>
              <a:gd name="connsiteX1292" fmla="*/ 3223261 w 7559666"/>
              <a:gd name="connsiteY1292" fmla="*/ 2804426 h 5345894"/>
              <a:gd name="connsiteX1293" fmla="*/ 3223261 w 7559666"/>
              <a:gd name="connsiteY1293" fmla="*/ 2763453 h 5345894"/>
              <a:gd name="connsiteX1294" fmla="*/ 3151486 w 7559666"/>
              <a:gd name="connsiteY1294" fmla="*/ 2763453 h 5345894"/>
              <a:gd name="connsiteX1295" fmla="*/ 3151486 w 7559666"/>
              <a:gd name="connsiteY1295" fmla="*/ 3085849 h 5345894"/>
              <a:gd name="connsiteX1296" fmla="*/ 3226252 w 7559666"/>
              <a:gd name="connsiteY1296" fmla="*/ 3085849 h 5345894"/>
              <a:gd name="connsiteX1297" fmla="*/ 3226252 w 7559666"/>
              <a:gd name="connsiteY1297" fmla="*/ 2922259 h 5345894"/>
              <a:gd name="connsiteX1298" fmla="*/ 3248982 w 7559666"/>
              <a:gd name="connsiteY1298" fmla="*/ 2850333 h 5345894"/>
              <a:gd name="connsiteX1299" fmla="*/ 3309692 w 7559666"/>
              <a:gd name="connsiteY1299" fmla="*/ 2825660 h 5345894"/>
              <a:gd name="connsiteX1300" fmla="*/ 3363376 w 7559666"/>
              <a:gd name="connsiteY1300" fmla="*/ 2847043 h 5345894"/>
              <a:gd name="connsiteX1301" fmla="*/ 3382068 w 7559666"/>
              <a:gd name="connsiteY1301" fmla="*/ 2910744 h 5345894"/>
              <a:gd name="connsiteX1302" fmla="*/ 3382068 w 7559666"/>
              <a:gd name="connsiteY1302" fmla="*/ 3085849 h 5345894"/>
              <a:gd name="connsiteX1303" fmla="*/ 3458330 w 7559666"/>
              <a:gd name="connsiteY1303" fmla="*/ 3085849 h 5345894"/>
              <a:gd name="connsiteX1304" fmla="*/ 3458330 w 7559666"/>
              <a:gd name="connsiteY1304" fmla="*/ 2922259 h 5345894"/>
              <a:gd name="connsiteX1305" fmla="*/ 3481059 w 7559666"/>
              <a:gd name="connsiteY1305" fmla="*/ 2850632 h 5345894"/>
              <a:gd name="connsiteX1306" fmla="*/ 3542069 w 7559666"/>
              <a:gd name="connsiteY1306" fmla="*/ 2825660 h 5345894"/>
              <a:gd name="connsiteX1307" fmla="*/ 3595901 w 7559666"/>
              <a:gd name="connsiteY1307" fmla="*/ 2847043 h 5345894"/>
              <a:gd name="connsiteX1308" fmla="*/ 3614592 w 7559666"/>
              <a:gd name="connsiteY1308" fmla="*/ 2910744 h 5345894"/>
              <a:gd name="connsiteX1309" fmla="*/ 3614592 w 7559666"/>
              <a:gd name="connsiteY1309" fmla="*/ 3085849 h 5345894"/>
              <a:gd name="connsiteX1310" fmla="*/ 3689359 w 7559666"/>
              <a:gd name="connsiteY1310" fmla="*/ 3085849 h 5345894"/>
              <a:gd name="connsiteX1311" fmla="*/ 3689359 w 7559666"/>
              <a:gd name="connsiteY1311" fmla="*/ 2901025 h 5345894"/>
              <a:gd name="connsiteX1312" fmla="*/ 3653770 w 7559666"/>
              <a:gd name="connsiteY1312" fmla="*/ 2795155 h 5345894"/>
              <a:gd name="connsiteX1313" fmla="*/ 3654219 w 7559666"/>
              <a:gd name="connsiteY1313" fmla="*/ 2795155 h 5345894"/>
              <a:gd name="connsiteX1314" fmla="*/ 3557621 w 7559666"/>
              <a:gd name="connsiteY1314" fmla="*/ 2759864 h 5345894"/>
              <a:gd name="connsiteX1315" fmla="*/ 3488237 w 7559666"/>
              <a:gd name="connsiteY1315" fmla="*/ 2773921 h 5345894"/>
              <a:gd name="connsiteX1316" fmla="*/ 3437095 w 7559666"/>
              <a:gd name="connsiteY1316" fmla="*/ 2813547 h 5345894"/>
              <a:gd name="connsiteX1317" fmla="*/ 3392235 w 7559666"/>
              <a:gd name="connsiteY1317" fmla="*/ 2773323 h 5345894"/>
              <a:gd name="connsiteX1318" fmla="*/ 3327936 w 7559666"/>
              <a:gd name="connsiteY1318" fmla="*/ 2759864 h 5345894"/>
              <a:gd name="connsiteX1319" fmla="*/ 2882175 w 7559666"/>
              <a:gd name="connsiteY1319" fmla="*/ 2759715 h 5345894"/>
              <a:gd name="connsiteX1320" fmla="*/ 2793950 w 7559666"/>
              <a:gd name="connsiteY1320" fmla="*/ 2780949 h 5345894"/>
              <a:gd name="connsiteX1321" fmla="*/ 2732641 w 7559666"/>
              <a:gd name="connsiteY1321" fmla="*/ 2839417 h 5345894"/>
              <a:gd name="connsiteX1322" fmla="*/ 2732641 w 7559666"/>
              <a:gd name="connsiteY1322" fmla="*/ 3010035 h 5345894"/>
              <a:gd name="connsiteX1323" fmla="*/ 2793950 w 7559666"/>
              <a:gd name="connsiteY1323" fmla="*/ 3068952 h 5345894"/>
              <a:gd name="connsiteX1324" fmla="*/ 2882175 w 7559666"/>
              <a:gd name="connsiteY1324" fmla="*/ 3090036 h 5345894"/>
              <a:gd name="connsiteX1325" fmla="*/ 2970849 w 7559666"/>
              <a:gd name="connsiteY1325" fmla="*/ 3068952 h 5345894"/>
              <a:gd name="connsiteX1326" fmla="*/ 3032158 w 7559666"/>
              <a:gd name="connsiteY1326" fmla="*/ 3010035 h 5345894"/>
              <a:gd name="connsiteX1327" fmla="*/ 3032158 w 7559666"/>
              <a:gd name="connsiteY1327" fmla="*/ 2839417 h 5345894"/>
              <a:gd name="connsiteX1328" fmla="*/ 2970849 w 7559666"/>
              <a:gd name="connsiteY1328" fmla="*/ 2780949 h 5345894"/>
              <a:gd name="connsiteX1329" fmla="*/ 2882175 w 7559666"/>
              <a:gd name="connsiteY1329" fmla="*/ 2759715 h 5345894"/>
              <a:gd name="connsiteX1330" fmla="*/ 3921884 w 7559666"/>
              <a:gd name="connsiteY1330" fmla="*/ 2325467 h 5345894"/>
              <a:gd name="connsiteX1331" fmla="*/ 3921884 w 7559666"/>
              <a:gd name="connsiteY1331" fmla="*/ 2325617 h 5345894"/>
              <a:gd name="connsiteX1332" fmla="*/ 3906931 w 7559666"/>
              <a:gd name="connsiteY1332" fmla="*/ 2340570 h 5345894"/>
              <a:gd name="connsiteX1333" fmla="*/ 3906931 w 7559666"/>
              <a:gd name="connsiteY1333" fmla="*/ 2500572 h 5345894"/>
              <a:gd name="connsiteX1334" fmla="*/ 3921884 w 7559666"/>
              <a:gd name="connsiteY1334" fmla="*/ 2515525 h 5345894"/>
              <a:gd name="connsiteX1335" fmla="*/ 3936838 w 7559666"/>
              <a:gd name="connsiteY1335" fmla="*/ 2500572 h 5345894"/>
              <a:gd name="connsiteX1336" fmla="*/ 3936838 w 7559666"/>
              <a:gd name="connsiteY1336" fmla="*/ 2340420 h 5345894"/>
              <a:gd name="connsiteX1337" fmla="*/ 3921884 w 7559666"/>
              <a:gd name="connsiteY1337" fmla="*/ 2325467 h 5345894"/>
              <a:gd name="connsiteX1338" fmla="*/ 3706853 w 7559666"/>
              <a:gd name="connsiteY1338" fmla="*/ 2325467 h 5345894"/>
              <a:gd name="connsiteX1339" fmla="*/ 3706853 w 7559666"/>
              <a:gd name="connsiteY1339" fmla="*/ 2325617 h 5345894"/>
              <a:gd name="connsiteX1340" fmla="*/ 3691900 w 7559666"/>
              <a:gd name="connsiteY1340" fmla="*/ 2340570 h 5345894"/>
              <a:gd name="connsiteX1341" fmla="*/ 3691900 w 7559666"/>
              <a:gd name="connsiteY1341" fmla="*/ 2500572 h 5345894"/>
              <a:gd name="connsiteX1342" fmla="*/ 3706853 w 7559666"/>
              <a:gd name="connsiteY1342" fmla="*/ 2515525 h 5345894"/>
              <a:gd name="connsiteX1343" fmla="*/ 3721807 w 7559666"/>
              <a:gd name="connsiteY1343" fmla="*/ 2500572 h 5345894"/>
              <a:gd name="connsiteX1344" fmla="*/ 3721807 w 7559666"/>
              <a:gd name="connsiteY1344" fmla="*/ 2340420 h 5345894"/>
              <a:gd name="connsiteX1345" fmla="*/ 3706853 w 7559666"/>
              <a:gd name="connsiteY1345" fmla="*/ 2325467 h 5345894"/>
              <a:gd name="connsiteX1346" fmla="*/ 4067530 w 7559666"/>
              <a:gd name="connsiteY1346" fmla="*/ 2246663 h 5345894"/>
              <a:gd name="connsiteX1347" fmla="*/ 4067530 w 7559666"/>
              <a:gd name="connsiteY1347" fmla="*/ 2246813 h 5345894"/>
              <a:gd name="connsiteX1348" fmla="*/ 4052577 w 7559666"/>
              <a:gd name="connsiteY1348" fmla="*/ 2261766 h 5345894"/>
              <a:gd name="connsiteX1349" fmla="*/ 4052577 w 7559666"/>
              <a:gd name="connsiteY1349" fmla="*/ 2325318 h 5345894"/>
              <a:gd name="connsiteX1350" fmla="*/ 4067530 w 7559666"/>
              <a:gd name="connsiteY1350" fmla="*/ 2340271 h 5345894"/>
              <a:gd name="connsiteX1351" fmla="*/ 4082484 w 7559666"/>
              <a:gd name="connsiteY1351" fmla="*/ 2325318 h 5345894"/>
              <a:gd name="connsiteX1352" fmla="*/ 4082484 w 7559666"/>
              <a:gd name="connsiteY1352" fmla="*/ 2261616 h 5345894"/>
              <a:gd name="connsiteX1353" fmla="*/ 4067530 w 7559666"/>
              <a:gd name="connsiteY1353" fmla="*/ 2246663 h 5345894"/>
              <a:gd name="connsiteX1354" fmla="*/ 3561506 w 7559666"/>
              <a:gd name="connsiteY1354" fmla="*/ 2246663 h 5345894"/>
              <a:gd name="connsiteX1355" fmla="*/ 3561506 w 7559666"/>
              <a:gd name="connsiteY1355" fmla="*/ 2246813 h 5345894"/>
              <a:gd name="connsiteX1356" fmla="*/ 3546554 w 7559666"/>
              <a:gd name="connsiteY1356" fmla="*/ 2261766 h 5345894"/>
              <a:gd name="connsiteX1357" fmla="*/ 3546554 w 7559666"/>
              <a:gd name="connsiteY1357" fmla="*/ 2325318 h 5345894"/>
              <a:gd name="connsiteX1358" fmla="*/ 3561506 w 7559666"/>
              <a:gd name="connsiteY1358" fmla="*/ 2340271 h 5345894"/>
              <a:gd name="connsiteX1359" fmla="*/ 3576461 w 7559666"/>
              <a:gd name="connsiteY1359" fmla="*/ 2325318 h 5345894"/>
              <a:gd name="connsiteX1360" fmla="*/ 3576461 w 7559666"/>
              <a:gd name="connsiteY1360" fmla="*/ 2261616 h 5345894"/>
              <a:gd name="connsiteX1361" fmla="*/ 3561506 w 7559666"/>
              <a:gd name="connsiteY1361" fmla="*/ 2246663 h 5345894"/>
              <a:gd name="connsiteX1362" fmla="*/ 3621022 w 7559666"/>
              <a:gd name="connsiteY1362" fmla="*/ 2059895 h 5345894"/>
              <a:gd name="connsiteX1363" fmla="*/ 3659453 w 7559666"/>
              <a:gd name="connsiteY1363" fmla="*/ 2098325 h 5345894"/>
              <a:gd name="connsiteX1364" fmla="*/ 3659453 w 7559666"/>
              <a:gd name="connsiteY1364" fmla="*/ 2098474 h 5345894"/>
              <a:gd name="connsiteX1365" fmla="*/ 3621171 w 7559666"/>
              <a:gd name="connsiteY1365" fmla="*/ 2136755 h 5345894"/>
              <a:gd name="connsiteX1366" fmla="*/ 3621022 w 7559666"/>
              <a:gd name="connsiteY1366" fmla="*/ 2136755 h 5345894"/>
              <a:gd name="connsiteX1367" fmla="*/ 3582592 w 7559666"/>
              <a:gd name="connsiteY1367" fmla="*/ 2098325 h 5345894"/>
              <a:gd name="connsiteX1368" fmla="*/ 3621022 w 7559666"/>
              <a:gd name="connsiteY1368" fmla="*/ 2059895 h 5345894"/>
              <a:gd name="connsiteX1369" fmla="*/ 4009362 w 7559666"/>
              <a:gd name="connsiteY1369" fmla="*/ 2059895 h 5345894"/>
              <a:gd name="connsiteX1370" fmla="*/ 4047942 w 7559666"/>
              <a:gd name="connsiteY1370" fmla="*/ 2098175 h 5345894"/>
              <a:gd name="connsiteX1371" fmla="*/ 4009661 w 7559666"/>
              <a:gd name="connsiteY1371" fmla="*/ 2136755 h 5345894"/>
              <a:gd name="connsiteX1372" fmla="*/ 4009511 w 7559666"/>
              <a:gd name="connsiteY1372" fmla="*/ 2136755 h 5345894"/>
              <a:gd name="connsiteX1373" fmla="*/ 3971081 w 7559666"/>
              <a:gd name="connsiteY1373" fmla="*/ 2098474 h 5345894"/>
              <a:gd name="connsiteX1374" fmla="*/ 4009362 w 7559666"/>
              <a:gd name="connsiteY1374" fmla="*/ 2059895 h 5345894"/>
              <a:gd name="connsiteX1375" fmla="*/ 3814518 w 7559666"/>
              <a:gd name="connsiteY1375" fmla="*/ 2045689 h 5345894"/>
              <a:gd name="connsiteX1376" fmla="*/ 3883454 w 7559666"/>
              <a:gd name="connsiteY1376" fmla="*/ 2114325 h 5345894"/>
              <a:gd name="connsiteX1377" fmla="*/ 3814817 w 7559666"/>
              <a:gd name="connsiteY1377" fmla="*/ 2183260 h 5345894"/>
              <a:gd name="connsiteX1378" fmla="*/ 3745883 w 7559666"/>
              <a:gd name="connsiteY1378" fmla="*/ 2114624 h 5345894"/>
              <a:gd name="connsiteX1379" fmla="*/ 3745883 w 7559666"/>
              <a:gd name="connsiteY1379" fmla="*/ 2114475 h 5345894"/>
              <a:gd name="connsiteX1380" fmla="*/ 3814518 w 7559666"/>
              <a:gd name="connsiteY1380" fmla="*/ 2045689 h 5345894"/>
              <a:gd name="connsiteX1381" fmla="*/ 3999786 w 7559666"/>
              <a:gd name="connsiteY1381" fmla="*/ 2031436 h 5345894"/>
              <a:gd name="connsiteX1382" fmla="*/ 3954798 w 7559666"/>
              <a:gd name="connsiteY1382" fmla="*/ 2057205 h 5345894"/>
              <a:gd name="connsiteX1383" fmla="*/ 3966978 w 7559666"/>
              <a:gd name="connsiteY1383" fmla="*/ 2152224 h 5345894"/>
              <a:gd name="connsiteX1384" fmla="*/ 4008764 w 7559666"/>
              <a:gd name="connsiteY1384" fmla="*/ 2166362 h 5345894"/>
              <a:gd name="connsiteX1385" fmla="*/ 4038670 w 7559666"/>
              <a:gd name="connsiteY1385" fmla="*/ 2166362 h 5345894"/>
              <a:gd name="connsiteX1386" fmla="*/ 4105811 w 7559666"/>
              <a:gd name="connsiteY1386" fmla="*/ 2233503 h 5345894"/>
              <a:gd name="connsiteX1387" fmla="*/ 4105811 w 7559666"/>
              <a:gd name="connsiteY1387" fmla="*/ 2280756 h 5345894"/>
              <a:gd name="connsiteX1388" fmla="*/ 4120765 w 7559666"/>
              <a:gd name="connsiteY1388" fmla="*/ 2295710 h 5345894"/>
              <a:gd name="connsiteX1389" fmla="*/ 4135718 w 7559666"/>
              <a:gd name="connsiteY1389" fmla="*/ 2280756 h 5345894"/>
              <a:gd name="connsiteX1390" fmla="*/ 4135718 w 7559666"/>
              <a:gd name="connsiteY1390" fmla="*/ 2233503 h 5345894"/>
              <a:gd name="connsiteX1391" fmla="*/ 4062745 w 7559666"/>
              <a:gd name="connsiteY1391" fmla="*/ 2140044 h 5345894"/>
              <a:gd name="connsiteX1392" fmla="*/ 4061998 w 7559666"/>
              <a:gd name="connsiteY1392" fmla="*/ 2140044 h 5345894"/>
              <a:gd name="connsiteX1393" fmla="*/ 4049818 w 7559666"/>
              <a:gd name="connsiteY1393" fmla="*/ 2045025 h 5345894"/>
              <a:gd name="connsiteX1394" fmla="*/ 3999786 w 7559666"/>
              <a:gd name="connsiteY1394" fmla="*/ 2031436 h 5345894"/>
              <a:gd name="connsiteX1395" fmla="*/ 3621022 w 7559666"/>
              <a:gd name="connsiteY1395" fmla="*/ 2030437 h 5345894"/>
              <a:gd name="connsiteX1396" fmla="*/ 3620275 w 7559666"/>
              <a:gd name="connsiteY1396" fmla="*/ 2030736 h 5345894"/>
              <a:gd name="connsiteX1397" fmla="*/ 3552392 w 7559666"/>
              <a:gd name="connsiteY1397" fmla="*/ 2098030 h 5345894"/>
              <a:gd name="connsiteX1398" fmla="*/ 3567041 w 7559666"/>
              <a:gd name="connsiteY1398" fmla="*/ 2140344 h 5345894"/>
              <a:gd name="connsiteX1399" fmla="*/ 3494068 w 7559666"/>
              <a:gd name="connsiteY1399" fmla="*/ 2233803 h 5345894"/>
              <a:gd name="connsiteX1400" fmla="*/ 3494068 w 7559666"/>
              <a:gd name="connsiteY1400" fmla="*/ 2281056 h 5345894"/>
              <a:gd name="connsiteX1401" fmla="*/ 3509021 w 7559666"/>
              <a:gd name="connsiteY1401" fmla="*/ 2296009 h 5345894"/>
              <a:gd name="connsiteX1402" fmla="*/ 3523975 w 7559666"/>
              <a:gd name="connsiteY1402" fmla="*/ 2281056 h 5345894"/>
              <a:gd name="connsiteX1403" fmla="*/ 3523975 w 7559666"/>
              <a:gd name="connsiteY1403" fmla="*/ 2233504 h 5345894"/>
              <a:gd name="connsiteX1404" fmla="*/ 3591116 w 7559666"/>
              <a:gd name="connsiteY1404" fmla="*/ 2166363 h 5345894"/>
              <a:gd name="connsiteX1405" fmla="*/ 3621022 w 7559666"/>
              <a:gd name="connsiteY1405" fmla="*/ 2166363 h 5345894"/>
              <a:gd name="connsiteX1406" fmla="*/ 3692175 w 7559666"/>
              <a:gd name="connsiteY1406" fmla="*/ 2101588 h 5345894"/>
              <a:gd name="connsiteX1407" fmla="*/ 3627400 w 7559666"/>
              <a:gd name="connsiteY1407" fmla="*/ 2030437 h 5345894"/>
              <a:gd name="connsiteX1408" fmla="*/ 3621022 w 7559666"/>
              <a:gd name="connsiteY1408" fmla="*/ 2030437 h 5345894"/>
              <a:gd name="connsiteX1409" fmla="*/ 3814369 w 7559666"/>
              <a:gd name="connsiteY1409" fmla="*/ 2015483 h 5345894"/>
              <a:gd name="connsiteX1410" fmla="*/ 3716125 w 7559666"/>
              <a:gd name="connsiteY1410" fmla="*/ 2113727 h 5345894"/>
              <a:gd name="connsiteX1411" fmla="*/ 3746032 w 7559666"/>
              <a:gd name="connsiteY1411" fmla="*/ 2184158 h 5345894"/>
              <a:gd name="connsiteX1412" fmla="*/ 3624312 w 7559666"/>
              <a:gd name="connsiteY1412" fmla="*/ 2325916 h 5345894"/>
              <a:gd name="connsiteX1413" fmla="*/ 3624312 w 7559666"/>
              <a:gd name="connsiteY1413" fmla="*/ 2447487 h 5345894"/>
              <a:gd name="connsiteX1414" fmla="*/ 3639265 w 7559666"/>
              <a:gd name="connsiteY1414" fmla="*/ 2462441 h 5345894"/>
              <a:gd name="connsiteX1415" fmla="*/ 3654219 w 7559666"/>
              <a:gd name="connsiteY1415" fmla="*/ 2447487 h 5345894"/>
              <a:gd name="connsiteX1416" fmla="*/ 3654219 w 7559666"/>
              <a:gd name="connsiteY1416" fmla="*/ 2325916 h 5345894"/>
              <a:gd name="connsiteX1417" fmla="*/ 3768163 w 7559666"/>
              <a:gd name="connsiteY1417" fmla="*/ 2211971 h 5345894"/>
              <a:gd name="connsiteX1418" fmla="*/ 3860575 w 7559666"/>
              <a:gd name="connsiteY1418" fmla="*/ 2211971 h 5345894"/>
              <a:gd name="connsiteX1419" fmla="*/ 3974669 w 7559666"/>
              <a:gd name="connsiteY1419" fmla="*/ 2325916 h 5345894"/>
              <a:gd name="connsiteX1420" fmla="*/ 3974669 w 7559666"/>
              <a:gd name="connsiteY1420" fmla="*/ 2447487 h 5345894"/>
              <a:gd name="connsiteX1421" fmla="*/ 3989623 w 7559666"/>
              <a:gd name="connsiteY1421" fmla="*/ 2462441 h 5345894"/>
              <a:gd name="connsiteX1422" fmla="*/ 4004576 w 7559666"/>
              <a:gd name="connsiteY1422" fmla="*/ 2447487 h 5345894"/>
              <a:gd name="connsiteX1423" fmla="*/ 4004576 w 7559666"/>
              <a:gd name="connsiteY1423" fmla="*/ 2325916 h 5345894"/>
              <a:gd name="connsiteX1424" fmla="*/ 3882856 w 7559666"/>
              <a:gd name="connsiteY1424" fmla="*/ 2184158 h 5345894"/>
              <a:gd name="connsiteX1425" fmla="*/ 3882706 w 7559666"/>
              <a:gd name="connsiteY1425" fmla="*/ 2184158 h 5345894"/>
              <a:gd name="connsiteX1426" fmla="*/ 3912613 w 7559666"/>
              <a:gd name="connsiteY1426" fmla="*/ 2113727 h 5345894"/>
              <a:gd name="connsiteX1427" fmla="*/ 3814369 w 7559666"/>
              <a:gd name="connsiteY1427" fmla="*/ 2015483 h 5345894"/>
              <a:gd name="connsiteX1428" fmla="*/ 3814220 w 7559666"/>
              <a:gd name="connsiteY1428" fmla="*/ 1850548 h 5345894"/>
              <a:gd name="connsiteX1429" fmla="*/ 4177887 w 7559666"/>
              <a:gd name="connsiteY1429" fmla="*/ 2213915 h 5345894"/>
              <a:gd name="connsiteX1430" fmla="*/ 4177887 w 7559666"/>
              <a:gd name="connsiteY1430" fmla="*/ 2214065 h 5345894"/>
              <a:gd name="connsiteX1431" fmla="*/ 3814519 w 7559666"/>
              <a:gd name="connsiteY1431" fmla="*/ 2577582 h 5345894"/>
              <a:gd name="connsiteX1432" fmla="*/ 3450853 w 7559666"/>
              <a:gd name="connsiteY1432" fmla="*/ 2214214 h 5345894"/>
              <a:gd name="connsiteX1433" fmla="*/ 3814220 w 7559666"/>
              <a:gd name="connsiteY1433" fmla="*/ 1850548 h 5345894"/>
              <a:gd name="connsiteX1434" fmla="*/ 3814519 w 7559666"/>
              <a:gd name="connsiteY1434" fmla="*/ 1791482 h 5345894"/>
              <a:gd name="connsiteX1435" fmla="*/ 3391679 w 7559666"/>
              <a:gd name="connsiteY1435" fmla="*/ 2212610 h 5345894"/>
              <a:gd name="connsiteX1436" fmla="*/ 3473283 w 7559666"/>
              <a:gd name="connsiteY1436" fmla="*/ 2462890 h 5345894"/>
              <a:gd name="connsiteX1437" fmla="*/ 3338702 w 7559666"/>
              <a:gd name="connsiteY1437" fmla="*/ 2585209 h 5345894"/>
              <a:gd name="connsiteX1438" fmla="*/ 3332530 w 7559666"/>
              <a:gd name="connsiteY1438" fmla="*/ 2627051 h 5345894"/>
              <a:gd name="connsiteX1439" fmla="*/ 3374372 w 7559666"/>
              <a:gd name="connsiteY1439" fmla="*/ 2633223 h 5345894"/>
              <a:gd name="connsiteX1440" fmla="*/ 3379077 w 7559666"/>
              <a:gd name="connsiteY1440" fmla="*/ 2628873 h 5345894"/>
              <a:gd name="connsiteX1441" fmla="*/ 3511713 w 7559666"/>
              <a:gd name="connsiteY1441" fmla="*/ 2508199 h 5345894"/>
              <a:gd name="connsiteX1442" fmla="*/ 4109059 w 7559666"/>
              <a:gd name="connsiteY1442" fmla="*/ 2516979 h 5345894"/>
              <a:gd name="connsiteX1443" fmla="*/ 4117840 w 7559666"/>
              <a:gd name="connsiteY1443" fmla="*/ 1919633 h 5345894"/>
              <a:gd name="connsiteX1444" fmla="*/ 3814519 w 7559666"/>
              <a:gd name="connsiteY1444" fmla="*/ 1791482 h 5345894"/>
              <a:gd name="connsiteX1445" fmla="*/ 0 w 7559666"/>
              <a:gd name="connsiteY1445" fmla="*/ 0 h 5345894"/>
              <a:gd name="connsiteX1446" fmla="*/ 7559666 w 7559666"/>
              <a:gd name="connsiteY1446" fmla="*/ 0 h 5345894"/>
              <a:gd name="connsiteX1447" fmla="*/ 7559666 w 7559666"/>
              <a:gd name="connsiteY1447" fmla="*/ 5345894 h 5345894"/>
              <a:gd name="connsiteX1448" fmla="*/ 0 w 7559666"/>
              <a:gd name="connsiteY1448" fmla="*/ 5345894 h 534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</a:cxnLst>
            <a:rect l="l" t="t" r="r" b="b"/>
            <a:pathLst>
              <a:path w="7559666" h="5345894">
                <a:moveTo>
                  <a:pt x="3347077" y="3511124"/>
                </a:moveTo>
                <a:lnTo>
                  <a:pt x="3357692" y="3536545"/>
                </a:lnTo>
                <a:lnTo>
                  <a:pt x="3336460" y="3535947"/>
                </a:lnTo>
                <a:close/>
                <a:moveTo>
                  <a:pt x="3528761" y="3510077"/>
                </a:moveTo>
                <a:lnTo>
                  <a:pt x="3542518" y="3510077"/>
                </a:lnTo>
                <a:cubicBezTo>
                  <a:pt x="3546299" y="3509972"/>
                  <a:pt x="3550047" y="3510795"/>
                  <a:pt x="3553434" y="3512470"/>
                </a:cubicBezTo>
                <a:cubicBezTo>
                  <a:pt x="3556497" y="3513920"/>
                  <a:pt x="3559049" y="3516268"/>
                  <a:pt x="3560761" y="3519199"/>
                </a:cubicBezTo>
                <a:cubicBezTo>
                  <a:pt x="3562544" y="3522339"/>
                  <a:pt x="3563423" y="3525913"/>
                  <a:pt x="3563303" y="3529517"/>
                </a:cubicBezTo>
                <a:cubicBezTo>
                  <a:pt x="3563442" y="3533075"/>
                  <a:pt x="3562563" y="3536604"/>
                  <a:pt x="3560761" y="3539685"/>
                </a:cubicBezTo>
                <a:cubicBezTo>
                  <a:pt x="3559104" y="3542690"/>
                  <a:pt x="3556540" y="3545098"/>
                  <a:pt x="3553434" y="3546563"/>
                </a:cubicBezTo>
                <a:cubicBezTo>
                  <a:pt x="3550047" y="3548238"/>
                  <a:pt x="3546299" y="3549061"/>
                  <a:pt x="3542518" y="3548956"/>
                </a:cubicBezTo>
                <a:lnTo>
                  <a:pt x="3528761" y="3548956"/>
                </a:lnTo>
                <a:close/>
                <a:moveTo>
                  <a:pt x="2955298" y="3510077"/>
                </a:moveTo>
                <a:lnTo>
                  <a:pt x="2969056" y="3510077"/>
                </a:lnTo>
                <a:cubicBezTo>
                  <a:pt x="2972884" y="3509972"/>
                  <a:pt x="2976680" y="3510780"/>
                  <a:pt x="2980121" y="3512470"/>
                </a:cubicBezTo>
                <a:cubicBezTo>
                  <a:pt x="2983127" y="3514010"/>
                  <a:pt x="2985658" y="3516328"/>
                  <a:pt x="2987448" y="3519199"/>
                </a:cubicBezTo>
                <a:cubicBezTo>
                  <a:pt x="2989162" y="3522369"/>
                  <a:pt x="2990038" y="3525913"/>
                  <a:pt x="2989990" y="3529517"/>
                </a:cubicBezTo>
                <a:cubicBezTo>
                  <a:pt x="2990061" y="3533076"/>
                  <a:pt x="2989183" y="3536575"/>
                  <a:pt x="2987448" y="3539685"/>
                </a:cubicBezTo>
                <a:cubicBezTo>
                  <a:pt x="2985705" y="3542631"/>
                  <a:pt x="2983164" y="3545008"/>
                  <a:pt x="2980121" y="3546564"/>
                </a:cubicBezTo>
                <a:cubicBezTo>
                  <a:pt x="2976680" y="3548253"/>
                  <a:pt x="2972884" y="3549061"/>
                  <a:pt x="2969056" y="3548956"/>
                </a:cubicBezTo>
                <a:lnTo>
                  <a:pt x="2955298" y="3548956"/>
                </a:lnTo>
                <a:close/>
                <a:moveTo>
                  <a:pt x="3672762" y="3501105"/>
                </a:moveTo>
                <a:lnTo>
                  <a:pt x="3672762" y="3510077"/>
                </a:lnTo>
                <a:lnTo>
                  <a:pt x="3691602" y="3510077"/>
                </a:lnTo>
                <a:lnTo>
                  <a:pt x="3691602" y="3557928"/>
                </a:lnTo>
                <a:lnTo>
                  <a:pt x="3702219" y="3557928"/>
                </a:lnTo>
                <a:lnTo>
                  <a:pt x="3702219" y="3510077"/>
                </a:lnTo>
                <a:lnTo>
                  <a:pt x="3720911" y="3510077"/>
                </a:lnTo>
                <a:lnTo>
                  <a:pt x="3720911" y="3501105"/>
                </a:lnTo>
                <a:close/>
                <a:moveTo>
                  <a:pt x="3619378" y="3501105"/>
                </a:moveTo>
                <a:lnTo>
                  <a:pt x="3619378" y="3557928"/>
                </a:lnTo>
                <a:lnTo>
                  <a:pt x="3629844" y="3557928"/>
                </a:lnTo>
                <a:lnTo>
                  <a:pt x="3629844" y="3501105"/>
                </a:lnTo>
                <a:close/>
                <a:moveTo>
                  <a:pt x="3518144" y="3501105"/>
                </a:moveTo>
                <a:lnTo>
                  <a:pt x="3518144" y="3558077"/>
                </a:lnTo>
                <a:lnTo>
                  <a:pt x="3542967" y="3558077"/>
                </a:lnTo>
                <a:cubicBezTo>
                  <a:pt x="3548562" y="3558197"/>
                  <a:pt x="3554101" y="3556971"/>
                  <a:pt x="3559116" y="3554489"/>
                </a:cubicBezTo>
                <a:cubicBezTo>
                  <a:pt x="3563645" y="3552276"/>
                  <a:pt x="3567435" y="3548791"/>
                  <a:pt x="3570032" y="3544470"/>
                </a:cubicBezTo>
                <a:cubicBezTo>
                  <a:pt x="3572754" y="3539969"/>
                  <a:pt x="3574104" y="3534780"/>
                  <a:pt x="3573920" y="3529517"/>
                </a:cubicBezTo>
                <a:cubicBezTo>
                  <a:pt x="3574079" y="3524268"/>
                  <a:pt x="3572730" y="3519079"/>
                  <a:pt x="3570032" y="3514563"/>
                </a:cubicBezTo>
                <a:cubicBezTo>
                  <a:pt x="3567427" y="3510286"/>
                  <a:pt x="3563634" y="3506862"/>
                  <a:pt x="3559116" y="3504694"/>
                </a:cubicBezTo>
                <a:cubicBezTo>
                  <a:pt x="3554101" y="3502212"/>
                  <a:pt x="3548562" y="3500985"/>
                  <a:pt x="3542967" y="3501105"/>
                </a:cubicBezTo>
                <a:close/>
                <a:moveTo>
                  <a:pt x="3418256" y="3501105"/>
                </a:moveTo>
                <a:lnTo>
                  <a:pt x="3418256" y="3533105"/>
                </a:lnTo>
                <a:cubicBezTo>
                  <a:pt x="3417833" y="3540059"/>
                  <a:pt x="3420200" y="3546892"/>
                  <a:pt x="3424835" y="3552096"/>
                </a:cubicBezTo>
                <a:lnTo>
                  <a:pt x="3425582" y="3552096"/>
                </a:lnTo>
                <a:cubicBezTo>
                  <a:pt x="3436229" y="3560844"/>
                  <a:pt x="3451571" y="3560844"/>
                  <a:pt x="3462218" y="3552096"/>
                </a:cubicBezTo>
                <a:cubicBezTo>
                  <a:pt x="3466852" y="3546892"/>
                  <a:pt x="3469219" y="3540059"/>
                  <a:pt x="3468798" y="3533105"/>
                </a:cubicBezTo>
                <a:lnTo>
                  <a:pt x="3468798" y="3501105"/>
                </a:lnTo>
                <a:lnTo>
                  <a:pt x="3458330" y="3501105"/>
                </a:lnTo>
                <a:lnTo>
                  <a:pt x="3458330" y="3532806"/>
                </a:lnTo>
                <a:cubicBezTo>
                  <a:pt x="3458330" y="3543872"/>
                  <a:pt x="3453346" y="3549404"/>
                  <a:pt x="3443377" y="3549404"/>
                </a:cubicBezTo>
                <a:cubicBezTo>
                  <a:pt x="3433407" y="3549404"/>
                  <a:pt x="3428423" y="3543872"/>
                  <a:pt x="3428423" y="3532806"/>
                </a:cubicBezTo>
                <a:lnTo>
                  <a:pt x="3428423" y="3501105"/>
                </a:lnTo>
                <a:close/>
                <a:moveTo>
                  <a:pt x="3341991" y="3501105"/>
                </a:moveTo>
                <a:lnTo>
                  <a:pt x="3316422" y="3557928"/>
                </a:lnTo>
                <a:lnTo>
                  <a:pt x="3327188" y="3557928"/>
                </a:lnTo>
                <a:lnTo>
                  <a:pt x="3332871" y="3544769"/>
                </a:lnTo>
                <a:lnTo>
                  <a:pt x="3361281" y="3544769"/>
                </a:lnTo>
                <a:lnTo>
                  <a:pt x="3366966" y="3557928"/>
                </a:lnTo>
                <a:lnTo>
                  <a:pt x="3377882" y="3557928"/>
                </a:lnTo>
                <a:lnTo>
                  <a:pt x="3352310" y="3501105"/>
                </a:lnTo>
                <a:close/>
                <a:moveTo>
                  <a:pt x="3193057" y="3501105"/>
                </a:moveTo>
                <a:lnTo>
                  <a:pt x="3193057" y="3557928"/>
                </a:lnTo>
                <a:lnTo>
                  <a:pt x="3233282" y="3557928"/>
                </a:lnTo>
                <a:lnTo>
                  <a:pt x="3233282" y="3548956"/>
                </a:lnTo>
                <a:lnTo>
                  <a:pt x="3203524" y="3548956"/>
                </a:lnTo>
                <a:lnTo>
                  <a:pt x="3203524" y="3501105"/>
                </a:lnTo>
                <a:close/>
                <a:moveTo>
                  <a:pt x="3046664" y="3501105"/>
                </a:moveTo>
                <a:lnTo>
                  <a:pt x="3046664" y="3557928"/>
                </a:lnTo>
                <a:lnTo>
                  <a:pt x="3089132" y="3557928"/>
                </a:lnTo>
                <a:lnTo>
                  <a:pt x="3089132" y="3549105"/>
                </a:lnTo>
                <a:lnTo>
                  <a:pt x="3057131" y="3549105"/>
                </a:lnTo>
                <a:lnTo>
                  <a:pt x="3057131" y="3533404"/>
                </a:lnTo>
                <a:lnTo>
                  <a:pt x="3084496" y="3533404"/>
                </a:lnTo>
                <a:lnTo>
                  <a:pt x="3084496" y="3524731"/>
                </a:lnTo>
                <a:lnTo>
                  <a:pt x="3057131" y="3524731"/>
                </a:lnTo>
                <a:lnTo>
                  <a:pt x="3057131" y="3509927"/>
                </a:lnTo>
                <a:lnTo>
                  <a:pt x="3088085" y="3509927"/>
                </a:lnTo>
                <a:lnTo>
                  <a:pt x="3088085" y="3501105"/>
                </a:lnTo>
                <a:close/>
                <a:moveTo>
                  <a:pt x="2944831" y="3501105"/>
                </a:moveTo>
                <a:lnTo>
                  <a:pt x="2944831" y="3558078"/>
                </a:lnTo>
                <a:lnTo>
                  <a:pt x="2969654" y="3558078"/>
                </a:lnTo>
                <a:cubicBezTo>
                  <a:pt x="2975198" y="3558182"/>
                  <a:pt x="2980686" y="3556956"/>
                  <a:pt x="2985654" y="3554489"/>
                </a:cubicBezTo>
                <a:cubicBezTo>
                  <a:pt x="2990222" y="3552276"/>
                  <a:pt x="2994062" y="3548792"/>
                  <a:pt x="2996718" y="3544470"/>
                </a:cubicBezTo>
                <a:cubicBezTo>
                  <a:pt x="2999372" y="3539939"/>
                  <a:pt x="3000718" y="3534765"/>
                  <a:pt x="3000607" y="3529517"/>
                </a:cubicBezTo>
                <a:cubicBezTo>
                  <a:pt x="3000694" y="3524268"/>
                  <a:pt x="2999349" y="3519109"/>
                  <a:pt x="2996718" y="3514563"/>
                </a:cubicBezTo>
                <a:cubicBezTo>
                  <a:pt x="2994053" y="3510287"/>
                  <a:pt x="2990212" y="3506862"/>
                  <a:pt x="2985654" y="3504694"/>
                </a:cubicBezTo>
                <a:cubicBezTo>
                  <a:pt x="2980686" y="3502227"/>
                  <a:pt x="2975198" y="3501000"/>
                  <a:pt x="2969654" y="3501105"/>
                </a:cubicBezTo>
                <a:close/>
                <a:moveTo>
                  <a:pt x="2796643" y="3501105"/>
                </a:moveTo>
                <a:lnTo>
                  <a:pt x="2796643" y="3510077"/>
                </a:lnTo>
                <a:lnTo>
                  <a:pt x="2815335" y="3510077"/>
                </a:lnTo>
                <a:lnTo>
                  <a:pt x="2815335" y="3557928"/>
                </a:lnTo>
                <a:lnTo>
                  <a:pt x="2825952" y="3557928"/>
                </a:lnTo>
                <a:lnTo>
                  <a:pt x="2825952" y="3510077"/>
                </a:lnTo>
                <a:lnTo>
                  <a:pt x="2844793" y="3510077"/>
                </a:lnTo>
                <a:lnTo>
                  <a:pt x="2844793" y="3501105"/>
                </a:lnTo>
                <a:close/>
                <a:moveTo>
                  <a:pt x="2714698" y="3501105"/>
                </a:moveTo>
                <a:lnTo>
                  <a:pt x="2714698" y="3557928"/>
                </a:lnTo>
                <a:lnTo>
                  <a:pt x="2757315" y="3557928"/>
                </a:lnTo>
                <a:lnTo>
                  <a:pt x="2757315" y="3549105"/>
                </a:lnTo>
                <a:lnTo>
                  <a:pt x="2725315" y="3549105"/>
                </a:lnTo>
                <a:lnTo>
                  <a:pt x="2725315" y="3533404"/>
                </a:lnTo>
                <a:lnTo>
                  <a:pt x="2752680" y="3533404"/>
                </a:lnTo>
                <a:lnTo>
                  <a:pt x="2752680" y="3524731"/>
                </a:lnTo>
                <a:lnTo>
                  <a:pt x="2725315" y="3524731"/>
                </a:lnTo>
                <a:lnTo>
                  <a:pt x="2725315" y="3509927"/>
                </a:lnTo>
                <a:lnTo>
                  <a:pt x="2756119" y="3509927"/>
                </a:lnTo>
                <a:lnTo>
                  <a:pt x="2756119" y="3501105"/>
                </a:lnTo>
                <a:close/>
                <a:moveTo>
                  <a:pt x="3275451" y="3497218"/>
                </a:moveTo>
                <a:cubicBezTo>
                  <a:pt x="3273681" y="3497158"/>
                  <a:pt x="3271961" y="3497801"/>
                  <a:pt x="3270666" y="3499012"/>
                </a:cubicBezTo>
                <a:cubicBezTo>
                  <a:pt x="3269447" y="3500298"/>
                  <a:pt x="3268800" y="3502033"/>
                  <a:pt x="3268872" y="3503797"/>
                </a:cubicBezTo>
                <a:cubicBezTo>
                  <a:pt x="3268806" y="3505128"/>
                  <a:pt x="3269174" y="3506429"/>
                  <a:pt x="3269917" y="3507536"/>
                </a:cubicBezTo>
                <a:cubicBezTo>
                  <a:pt x="3270520" y="3508582"/>
                  <a:pt x="3271475" y="3509375"/>
                  <a:pt x="3272610" y="3509779"/>
                </a:cubicBezTo>
                <a:lnTo>
                  <a:pt x="3269469" y="3522340"/>
                </a:lnTo>
                <a:lnTo>
                  <a:pt x="3276048" y="3522340"/>
                </a:lnTo>
                <a:lnTo>
                  <a:pt x="3280235" y="3510825"/>
                </a:lnTo>
                <a:cubicBezTo>
                  <a:pt x="3281581" y="3508881"/>
                  <a:pt x="3281581" y="3507536"/>
                  <a:pt x="3281581" y="3506638"/>
                </a:cubicBezTo>
                <a:cubicBezTo>
                  <a:pt x="3281736" y="3505696"/>
                  <a:pt x="3281736" y="3504739"/>
                  <a:pt x="3281581" y="3503797"/>
                </a:cubicBezTo>
                <a:cubicBezTo>
                  <a:pt x="3281613" y="3502003"/>
                  <a:pt x="3280911" y="3500268"/>
                  <a:pt x="3279637" y="3499012"/>
                </a:cubicBezTo>
                <a:lnTo>
                  <a:pt x="3280087" y="3499012"/>
                </a:lnTo>
                <a:cubicBezTo>
                  <a:pt x="3278843" y="3497816"/>
                  <a:pt x="3277174" y="3497173"/>
                  <a:pt x="3275451" y="3497218"/>
                </a:cubicBezTo>
                <a:close/>
                <a:moveTo>
                  <a:pt x="4001735" y="3414375"/>
                </a:moveTo>
                <a:lnTo>
                  <a:pt x="4012502" y="3439198"/>
                </a:lnTo>
                <a:lnTo>
                  <a:pt x="3991119" y="3439198"/>
                </a:lnTo>
                <a:close/>
                <a:moveTo>
                  <a:pt x="3793583" y="3414375"/>
                </a:moveTo>
                <a:lnTo>
                  <a:pt x="3804200" y="3439198"/>
                </a:lnTo>
                <a:lnTo>
                  <a:pt x="3782967" y="3439198"/>
                </a:lnTo>
                <a:close/>
                <a:moveTo>
                  <a:pt x="3566895" y="3414375"/>
                </a:moveTo>
                <a:lnTo>
                  <a:pt x="3577661" y="3439198"/>
                </a:lnTo>
                <a:lnTo>
                  <a:pt x="3556278" y="3439198"/>
                </a:lnTo>
                <a:close/>
                <a:moveTo>
                  <a:pt x="4575348" y="3412880"/>
                </a:moveTo>
                <a:lnTo>
                  <a:pt x="4587610" y="3412880"/>
                </a:lnTo>
                <a:cubicBezTo>
                  <a:pt x="4591334" y="3412641"/>
                  <a:pt x="4595042" y="3413688"/>
                  <a:pt x="4598078" y="3415871"/>
                </a:cubicBezTo>
                <a:cubicBezTo>
                  <a:pt x="4600530" y="3417875"/>
                  <a:pt x="4601861" y="3420940"/>
                  <a:pt x="4601666" y="3424096"/>
                </a:cubicBezTo>
                <a:cubicBezTo>
                  <a:pt x="4601876" y="3427296"/>
                  <a:pt x="4600545" y="3430421"/>
                  <a:pt x="4598078" y="3432469"/>
                </a:cubicBezTo>
                <a:cubicBezTo>
                  <a:pt x="4595042" y="3434653"/>
                  <a:pt x="4591334" y="3435699"/>
                  <a:pt x="4587610" y="3435460"/>
                </a:cubicBezTo>
                <a:lnTo>
                  <a:pt x="4575348" y="3435460"/>
                </a:lnTo>
                <a:close/>
                <a:moveTo>
                  <a:pt x="3642557" y="3412731"/>
                </a:moveTo>
                <a:lnTo>
                  <a:pt x="3654819" y="3412731"/>
                </a:lnTo>
                <a:cubicBezTo>
                  <a:pt x="3658550" y="3412491"/>
                  <a:pt x="3662248" y="3413538"/>
                  <a:pt x="3665286" y="3415721"/>
                </a:cubicBezTo>
                <a:cubicBezTo>
                  <a:pt x="3667756" y="3417770"/>
                  <a:pt x="3669090" y="3420895"/>
                  <a:pt x="3668875" y="3424095"/>
                </a:cubicBezTo>
                <a:cubicBezTo>
                  <a:pt x="3669020" y="3427295"/>
                  <a:pt x="3667697" y="3430376"/>
                  <a:pt x="3665286" y="3432469"/>
                </a:cubicBezTo>
                <a:cubicBezTo>
                  <a:pt x="3662228" y="3434593"/>
                  <a:pt x="3658532" y="3435594"/>
                  <a:pt x="3654819" y="3435310"/>
                </a:cubicBezTo>
                <a:lnTo>
                  <a:pt x="3642557" y="3435310"/>
                </a:lnTo>
                <a:close/>
                <a:moveTo>
                  <a:pt x="2725617" y="3412432"/>
                </a:moveTo>
                <a:lnTo>
                  <a:pt x="2739075" y="3412432"/>
                </a:lnTo>
                <a:cubicBezTo>
                  <a:pt x="2742848" y="3412387"/>
                  <a:pt x="2746580" y="3413209"/>
                  <a:pt x="2749991" y="3414824"/>
                </a:cubicBezTo>
                <a:cubicBezTo>
                  <a:pt x="2753064" y="3416335"/>
                  <a:pt x="2755615" y="3418727"/>
                  <a:pt x="2757318" y="3421703"/>
                </a:cubicBezTo>
                <a:cubicBezTo>
                  <a:pt x="2759053" y="3424813"/>
                  <a:pt x="2759930" y="3428312"/>
                  <a:pt x="2759860" y="3431871"/>
                </a:cubicBezTo>
                <a:cubicBezTo>
                  <a:pt x="2759908" y="3435475"/>
                  <a:pt x="2759033" y="3439019"/>
                  <a:pt x="2757318" y="3442189"/>
                </a:cubicBezTo>
                <a:cubicBezTo>
                  <a:pt x="2755653" y="3445150"/>
                  <a:pt x="2753086" y="3447513"/>
                  <a:pt x="2749991" y="3448918"/>
                </a:cubicBezTo>
                <a:cubicBezTo>
                  <a:pt x="2746604" y="3450593"/>
                  <a:pt x="2742855" y="3451415"/>
                  <a:pt x="2739075" y="3451311"/>
                </a:cubicBezTo>
                <a:lnTo>
                  <a:pt x="2725617" y="3451311"/>
                </a:lnTo>
                <a:close/>
                <a:moveTo>
                  <a:pt x="4391870" y="3412133"/>
                </a:moveTo>
                <a:cubicBezTo>
                  <a:pt x="4395413" y="3412103"/>
                  <a:pt x="4398913" y="3412985"/>
                  <a:pt x="4402038" y="3414675"/>
                </a:cubicBezTo>
                <a:cubicBezTo>
                  <a:pt x="4405058" y="3416350"/>
                  <a:pt x="4407541" y="3418832"/>
                  <a:pt x="4409215" y="3421853"/>
                </a:cubicBezTo>
                <a:cubicBezTo>
                  <a:pt x="4410905" y="3424978"/>
                  <a:pt x="4411787" y="3428477"/>
                  <a:pt x="4411758" y="3432021"/>
                </a:cubicBezTo>
                <a:cubicBezTo>
                  <a:pt x="4411787" y="3435625"/>
                  <a:pt x="4410905" y="3439169"/>
                  <a:pt x="4409215" y="3442339"/>
                </a:cubicBezTo>
                <a:cubicBezTo>
                  <a:pt x="4407451" y="3445285"/>
                  <a:pt x="4404984" y="3447752"/>
                  <a:pt x="4402038" y="3449516"/>
                </a:cubicBezTo>
                <a:cubicBezTo>
                  <a:pt x="4398913" y="3451206"/>
                  <a:pt x="4395413" y="3452088"/>
                  <a:pt x="4391870" y="3452059"/>
                </a:cubicBezTo>
                <a:cubicBezTo>
                  <a:pt x="4388266" y="3452088"/>
                  <a:pt x="4384722" y="3451206"/>
                  <a:pt x="4381552" y="3449516"/>
                </a:cubicBezTo>
                <a:cubicBezTo>
                  <a:pt x="4378606" y="3447797"/>
                  <a:pt x="4376183" y="3445315"/>
                  <a:pt x="4374523" y="3442339"/>
                </a:cubicBezTo>
                <a:cubicBezTo>
                  <a:pt x="4372714" y="3439199"/>
                  <a:pt x="4371787" y="3435640"/>
                  <a:pt x="4371832" y="3432021"/>
                </a:cubicBezTo>
                <a:cubicBezTo>
                  <a:pt x="4371772" y="3428447"/>
                  <a:pt x="4372714" y="3424933"/>
                  <a:pt x="4374523" y="3421853"/>
                </a:cubicBezTo>
                <a:cubicBezTo>
                  <a:pt x="4376094" y="3418817"/>
                  <a:pt x="4378546" y="3416320"/>
                  <a:pt x="4381552" y="3414675"/>
                </a:cubicBezTo>
                <a:cubicBezTo>
                  <a:pt x="4384722" y="3412985"/>
                  <a:pt x="4388266" y="3412103"/>
                  <a:pt x="4391870" y="3412133"/>
                </a:cubicBezTo>
                <a:close/>
                <a:moveTo>
                  <a:pt x="3058480" y="3412133"/>
                </a:moveTo>
                <a:cubicBezTo>
                  <a:pt x="3062029" y="3412103"/>
                  <a:pt x="3065529" y="3412985"/>
                  <a:pt x="3068649" y="3414675"/>
                </a:cubicBezTo>
                <a:cubicBezTo>
                  <a:pt x="3071668" y="3416350"/>
                  <a:pt x="3074153" y="3418832"/>
                  <a:pt x="3075826" y="3421853"/>
                </a:cubicBezTo>
                <a:cubicBezTo>
                  <a:pt x="3077522" y="3424978"/>
                  <a:pt x="3078397" y="3428477"/>
                  <a:pt x="3078368" y="3432021"/>
                </a:cubicBezTo>
                <a:cubicBezTo>
                  <a:pt x="3078397" y="3435625"/>
                  <a:pt x="3077522" y="3439169"/>
                  <a:pt x="3075826" y="3442339"/>
                </a:cubicBezTo>
                <a:cubicBezTo>
                  <a:pt x="3074068" y="3445285"/>
                  <a:pt x="3071602" y="3447752"/>
                  <a:pt x="3068649" y="3449516"/>
                </a:cubicBezTo>
                <a:cubicBezTo>
                  <a:pt x="3065529" y="3451206"/>
                  <a:pt x="3062029" y="3452088"/>
                  <a:pt x="3058480" y="3452059"/>
                </a:cubicBezTo>
                <a:cubicBezTo>
                  <a:pt x="3054882" y="3452088"/>
                  <a:pt x="3051336" y="3451206"/>
                  <a:pt x="3048162" y="3449516"/>
                </a:cubicBezTo>
                <a:cubicBezTo>
                  <a:pt x="3045218" y="3447797"/>
                  <a:pt x="3042789" y="3445315"/>
                  <a:pt x="3041133" y="3442339"/>
                </a:cubicBezTo>
                <a:cubicBezTo>
                  <a:pt x="3039322" y="3439199"/>
                  <a:pt x="3038392" y="3435640"/>
                  <a:pt x="3038443" y="3432021"/>
                </a:cubicBezTo>
                <a:cubicBezTo>
                  <a:pt x="3038388" y="3428447"/>
                  <a:pt x="3039321" y="3424933"/>
                  <a:pt x="3041133" y="3421853"/>
                </a:cubicBezTo>
                <a:cubicBezTo>
                  <a:pt x="3042710" y="3418817"/>
                  <a:pt x="3045158" y="3416320"/>
                  <a:pt x="3048162" y="3414675"/>
                </a:cubicBezTo>
                <a:cubicBezTo>
                  <a:pt x="3051336" y="3412985"/>
                  <a:pt x="3054882" y="3412103"/>
                  <a:pt x="3058480" y="3412133"/>
                </a:cubicBezTo>
                <a:close/>
                <a:moveTo>
                  <a:pt x="4376168" y="3406750"/>
                </a:moveTo>
                <a:cubicBezTo>
                  <a:pt x="4371338" y="3409396"/>
                  <a:pt x="4367376" y="3413374"/>
                  <a:pt x="4364729" y="3418189"/>
                </a:cubicBezTo>
                <a:cubicBezTo>
                  <a:pt x="4356998" y="3432230"/>
                  <a:pt x="4362127" y="3449875"/>
                  <a:pt x="4376168" y="3457591"/>
                </a:cubicBezTo>
                <a:lnTo>
                  <a:pt x="4376168" y="3457442"/>
                </a:lnTo>
                <a:cubicBezTo>
                  <a:pt x="4385993" y="3462421"/>
                  <a:pt x="4397597" y="3462421"/>
                  <a:pt x="4407421" y="3457442"/>
                </a:cubicBezTo>
                <a:cubicBezTo>
                  <a:pt x="4411937" y="3455064"/>
                  <a:pt x="4415705" y="3451490"/>
                  <a:pt x="4418337" y="3447124"/>
                </a:cubicBezTo>
                <a:cubicBezTo>
                  <a:pt x="4421014" y="3442593"/>
                  <a:pt x="4422419" y="3437434"/>
                  <a:pt x="4422374" y="3432171"/>
                </a:cubicBezTo>
                <a:cubicBezTo>
                  <a:pt x="4422434" y="3426907"/>
                  <a:pt x="4421044" y="3421733"/>
                  <a:pt x="4418337" y="3417217"/>
                </a:cubicBezTo>
                <a:cubicBezTo>
                  <a:pt x="4415765" y="3412761"/>
                  <a:pt x="4411982" y="3409142"/>
                  <a:pt x="4407421" y="3406750"/>
                </a:cubicBezTo>
                <a:cubicBezTo>
                  <a:pt x="4397597" y="3401770"/>
                  <a:pt x="4385993" y="3401770"/>
                  <a:pt x="4376168" y="3406750"/>
                </a:cubicBezTo>
                <a:close/>
                <a:moveTo>
                  <a:pt x="3042778" y="3406750"/>
                </a:moveTo>
                <a:cubicBezTo>
                  <a:pt x="3037955" y="3409396"/>
                  <a:pt x="3033987" y="3413374"/>
                  <a:pt x="3031335" y="3418189"/>
                </a:cubicBezTo>
                <a:cubicBezTo>
                  <a:pt x="3023615" y="3432230"/>
                  <a:pt x="3028738" y="3449875"/>
                  <a:pt x="3042778" y="3457591"/>
                </a:cubicBezTo>
                <a:lnTo>
                  <a:pt x="3042778" y="3457442"/>
                </a:lnTo>
                <a:cubicBezTo>
                  <a:pt x="3052601" y="3462421"/>
                  <a:pt x="3064210" y="3462421"/>
                  <a:pt x="3074031" y="3457442"/>
                </a:cubicBezTo>
                <a:cubicBezTo>
                  <a:pt x="3078542" y="3455064"/>
                  <a:pt x="3082318" y="3451490"/>
                  <a:pt x="3084948" y="3447124"/>
                </a:cubicBezTo>
                <a:cubicBezTo>
                  <a:pt x="3087631" y="3442593"/>
                  <a:pt x="3089026" y="3437434"/>
                  <a:pt x="3088984" y="3432171"/>
                </a:cubicBezTo>
                <a:cubicBezTo>
                  <a:pt x="3089049" y="3426907"/>
                  <a:pt x="3087653" y="3421733"/>
                  <a:pt x="3084948" y="3417217"/>
                </a:cubicBezTo>
                <a:cubicBezTo>
                  <a:pt x="3082370" y="3412761"/>
                  <a:pt x="3078587" y="3409142"/>
                  <a:pt x="3074031" y="3406750"/>
                </a:cubicBezTo>
                <a:cubicBezTo>
                  <a:pt x="3064210" y="3401770"/>
                  <a:pt x="3052601" y="3401770"/>
                  <a:pt x="3042778" y="3406750"/>
                </a:cubicBezTo>
                <a:close/>
                <a:moveTo>
                  <a:pt x="2808160" y="3404357"/>
                </a:moveTo>
                <a:lnTo>
                  <a:pt x="2808160" y="3436357"/>
                </a:lnTo>
                <a:cubicBezTo>
                  <a:pt x="2807924" y="3443221"/>
                  <a:pt x="2810520" y="3449860"/>
                  <a:pt x="2815337" y="3454750"/>
                </a:cubicBezTo>
                <a:cubicBezTo>
                  <a:pt x="2820268" y="3459670"/>
                  <a:pt x="2827078" y="3462227"/>
                  <a:pt x="2834029" y="3461778"/>
                </a:cubicBezTo>
                <a:cubicBezTo>
                  <a:pt x="2840761" y="3462227"/>
                  <a:pt x="2847373" y="3459834"/>
                  <a:pt x="2852272" y="3455199"/>
                </a:cubicBezTo>
                <a:cubicBezTo>
                  <a:pt x="2856927" y="3450070"/>
                  <a:pt x="2859301" y="3443266"/>
                  <a:pt x="2858852" y="3436357"/>
                </a:cubicBezTo>
                <a:lnTo>
                  <a:pt x="2858852" y="3404357"/>
                </a:lnTo>
                <a:lnTo>
                  <a:pt x="2848534" y="3404357"/>
                </a:lnTo>
                <a:lnTo>
                  <a:pt x="2848534" y="3435909"/>
                </a:lnTo>
                <a:cubicBezTo>
                  <a:pt x="2848534" y="3446974"/>
                  <a:pt x="2843749" y="3452656"/>
                  <a:pt x="2833581" y="3452656"/>
                </a:cubicBezTo>
                <a:cubicBezTo>
                  <a:pt x="2823412" y="3452656"/>
                  <a:pt x="2818627" y="3446974"/>
                  <a:pt x="2818627" y="3435909"/>
                </a:cubicBezTo>
                <a:lnTo>
                  <a:pt x="2818627" y="3404357"/>
                </a:lnTo>
                <a:close/>
                <a:moveTo>
                  <a:pt x="4723836" y="3403908"/>
                </a:moveTo>
                <a:lnTo>
                  <a:pt x="4723836" y="3460581"/>
                </a:lnTo>
                <a:lnTo>
                  <a:pt x="4766453" y="3460581"/>
                </a:lnTo>
                <a:lnTo>
                  <a:pt x="4766453" y="3451759"/>
                </a:lnTo>
                <a:lnTo>
                  <a:pt x="4734453" y="3451759"/>
                </a:lnTo>
                <a:lnTo>
                  <a:pt x="4734453" y="3436058"/>
                </a:lnTo>
                <a:lnTo>
                  <a:pt x="4761818" y="3436058"/>
                </a:lnTo>
                <a:lnTo>
                  <a:pt x="4761818" y="3427385"/>
                </a:lnTo>
                <a:lnTo>
                  <a:pt x="4734453" y="3427385"/>
                </a:lnTo>
                <a:lnTo>
                  <a:pt x="4734453" y="3412730"/>
                </a:lnTo>
                <a:lnTo>
                  <a:pt x="4765257" y="3412730"/>
                </a:lnTo>
                <a:lnTo>
                  <a:pt x="4765257" y="3403908"/>
                </a:lnTo>
                <a:close/>
                <a:moveTo>
                  <a:pt x="4640844" y="3403908"/>
                </a:moveTo>
                <a:lnTo>
                  <a:pt x="4640844" y="3412730"/>
                </a:lnTo>
                <a:lnTo>
                  <a:pt x="4659685" y="3412730"/>
                </a:lnTo>
                <a:lnTo>
                  <a:pt x="4659685" y="3460581"/>
                </a:lnTo>
                <a:lnTo>
                  <a:pt x="4670153" y="3460581"/>
                </a:lnTo>
                <a:lnTo>
                  <a:pt x="4670153" y="3412730"/>
                </a:lnTo>
                <a:lnTo>
                  <a:pt x="4688994" y="3412730"/>
                </a:lnTo>
                <a:lnTo>
                  <a:pt x="4688994" y="3403908"/>
                </a:lnTo>
                <a:close/>
                <a:moveTo>
                  <a:pt x="4564881" y="3403908"/>
                </a:moveTo>
                <a:lnTo>
                  <a:pt x="4564881" y="3460731"/>
                </a:lnTo>
                <a:lnTo>
                  <a:pt x="4575348" y="3460731"/>
                </a:lnTo>
                <a:lnTo>
                  <a:pt x="4575348" y="3444283"/>
                </a:lnTo>
                <a:lnTo>
                  <a:pt x="4588208" y="3444283"/>
                </a:lnTo>
                <a:cubicBezTo>
                  <a:pt x="4592620" y="3444402"/>
                  <a:pt x="4597001" y="3443580"/>
                  <a:pt x="4601068" y="3441890"/>
                </a:cubicBezTo>
                <a:cubicBezTo>
                  <a:pt x="4604508" y="3440440"/>
                  <a:pt x="4607423" y="3437987"/>
                  <a:pt x="4609442" y="3434862"/>
                </a:cubicBezTo>
                <a:cubicBezTo>
                  <a:pt x="4611431" y="3431632"/>
                  <a:pt x="4612418" y="3427879"/>
                  <a:pt x="4612283" y="3424096"/>
                </a:cubicBezTo>
                <a:cubicBezTo>
                  <a:pt x="4612373" y="3420312"/>
                  <a:pt x="4611386" y="3416574"/>
                  <a:pt x="4609442" y="3413329"/>
                </a:cubicBezTo>
                <a:cubicBezTo>
                  <a:pt x="4607379" y="3410279"/>
                  <a:pt x="4604463" y="3407886"/>
                  <a:pt x="4601068" y="3406451"/>
                </a:cubicBezTo>
                <a:cubicBezTo>
                  <a:pt x="4597016" y="3404701"/>
                  <a:pt x="4592620" y="3403834"/>
                  <a:pt x="4588208" y="3403908"/>
                </a:cubicBezTo>
                <a:close/>
                <a:moveTo>
                  <a:pt x="4460506" y="3403908"/>
                </a:moveTo>
                <a:lnTo>
                  <a:pt x="4460506" y="3460581"/>
                </a:lnTo>
                <a:lnTo>
                  <a:pt x="4470525" y="3460581"/>
                </a:lnTo>
                <a:lnTo>
                  <a:pt x="4470525" y="3423497"/>
                </a:lnTo>
                <a:lnTo>
                  <a:pt x="4489217" y="3454152"/>
                </a:lnTo>
                <a:lnTo>
                  <a:pt x="4493852" y="3454152"/>
                </a:lnTo>
                <a:lnTo>
                  <a:pt x="4512544" y="3423048"/>
                </a:lnTo>
                <a:lnTo>
                  <a:pt x="4512544" y="3460581"/>
                </a:lnTo>
                <a:lnTo>
                  <a:pt x="4522563" y="3460581"/>
                </a:lnTo>
                <a:lnTo>
                  <a:pt x="4522563" y="3403908"/>
                </a:lnTo>
                <a:lnTo>
                  <a:pt x="4513740" y="3403908"/>
                </a:lnTo>
                <a:lnTo>
                  <a:pt x="4491759" y="3441441"/>
                </a:lnTo>
                <a:lnTo>
                  <a:pt x="4469179" y="3403908"/>
                </a:lnTo>
                <a:close/>
                <a:moveTo>
                  <a:pt x="4149923" y="3403908"/>
                </a:moveTo>
                <a:lnTo>
                  <a:pt x="4169811" y="3431721"/>
                </a:lnTo>
                <a:lnTo>
                  <a:pt x="4148727" y="3460581"/>
                </a:lnTo>
                <a:lnTo>
                  <a:pt x="4160690" y="3460581"/>
                </a:lnTo>
                <a:lnTo>
                  <a:pt x="4175942" y="3439049"/>
                </a:lnTo>
                <a:lnTo>
                  <a:pt x="4191344" y="3460581"/>
                </a:lnTo>
                <a:lnTo>
                  <a:pt x="4203457" y="3460581"/>
                </a:lnTo>
                <a:lnTo>
                  <a:pt x="4182223" y="3431273"/>
                </a:lnTo>
                <a:lnTo>
                  <a:pt x="4202111" y="3403908"/>
                </a:lnTo>
                <a:lnTo>
                  <a:pt x="4190597" y="3403908"/>
                </a:lnTo>
                <a:lnTo>
                  <a:pt x="4176241" y="3423946"/>
                </a:lnTo>
                <a:lnTo>
                  <a:pt x="4161737" y="3403908"/>
                </a:lnTo>
                <a:close/>
                <a:moveTo>
                  <a:pt x="4064838" y="3403908"/>
                </a:moveTo>
                <a:lnTo>
                  <a:pt x="4064838" y="3435908"/>
                </a:lnTo>
                <a:cubicBezTo>
                  <a:pt x="4064388" y="3442817"/>
                  <a:pt x="4066763" y="3449621"/>
                  <a:pt x="4071418" y="3454750"/>
                </a:cubicBezTo>
                <a:lnTo>
                  <a:pt x="4072614" y="3455198"/>
                </a:lnTo>
                <a:cubicBezTo>
                  <a:pt x="4077569" y="3459849"/>
                  <a:pt x="4084230" y="3462226"/>
                  <a:pt x="4091007" y="3461778"/>
                </a:cubicBezTo>
                <a:cubicBezTo>
                  <a:pt x="4097739" y="3462226"/>
                  <a:pt x="4104350" y="3459834"/>
                  <a:pt x="4109250" y="3455198"/>
                </a:cubicBezTo>
                <a:cubicBezTo>
                  <a:pt x="4113905" y="3450069"/>
                  <a:pt x="4116279" y="3443265"/>
                  <a:pt x="4115829" y="3436357"/>
                </a:cubicBezTo>
                <a:lnTo>
                  <a:pt x="4115829" y="3403908"/>
                </a:lnTo>
                <a:lnTo>
                  <a:pt x="4105362" y="3403908"/>
                </a:lnTo>
                <a:lnTo>
                  <a:pt x="4105362" y="3435460"/>
                </a:lnTo>
                <a:cubicBezTo>
                  <a:pt x="4105362" y="3446525"/>
                  <a:pt x="4100577" y="3452207"/>
                  <a:pt x="4090408" y="3452207"/>
                </a:cubicBezTo>
                <a:cubicBezTo>
                  <a:pt x="4080240" y="3452207"/>
                  <a:pt x="4075455" y="3446525"/>
                  <a:pt x="4075455" y="3435460"/>
                </a:cubicBezTo>
                <a:lnTo>
                  <a:pt x="4075455" y="3403908"/>
                </a:lnTo>
                <a:close/>
                <a:moveTo>
                  <a:pt x="3996651" y="3403908"/>
                </a:moveTo>
                <a:lnTo>
                  <a:pt x="3971081" y="3460581"/>
                </a:lnTo>
                <a:lnTo>
                  <a:pt x="3981997" y="3460581"/>
                </a:lnTo>
                <a:lnTo>
                  <a:pt x="3987530" y="3447422"/>
                </a:lnTo>
                <a:lnTo>
                  <a:pt x="4015941" y="3447422"/>
                </a:lnTo>
                <a:lnTo>
                  <a:pt x="4021623" y="3460581"/>
                </a:lnTo>
                <a:lnTo>
                  <a:pt x="4032689" y="3460581"/>
                </a:lnTo>
                <a:lnTo>
                  <a:pt x="4006969" y="3403908"/>
                </a:lnTo>
                <a:close/>
                <a:moveTo>
                  <a:pt x="3848463" y="3403908"/>
                </a:moveTo>
                <a:lnTo>
                  <a:pt x="3848463" y="3412730"/>
                </a:lnTo>
                <a:lnTo>
                  <a:pt x="3867155" y="3412730"/>
                </a:lnTo>
                <a:lnTo>
                  <a:pt x="3867155" y="3460581"/>
                </a:lnTo>
                <a:lnTo>
                  <a:pt x="3877772" y="3460581"/>
                </a:lnTo>
                <a:lnTo>
                  <a:pt x="3877772" y="3412730"/>
                </a:lnTo>
                <a:lnTo>
                  <a:pt x="3896613" y="3412730"/>
                </a:lnTo>
                <a:lnTo>
                  <a:pt x="3896613" y="3403908"/>
                </a:lnTo>
                <a:close/>
                <a:moveTo>
                  <a:pt x="3788350" y="3403908"/>
                </a:moveTo>
                <a:lnTo>
                  <a:pt x="3762930" y="3460581"/>
                </a:lnTo>
                <a:lnTo>
                  <a:pt x="3773695" y="3460581"/>
                </a:lnTo>
                <a:lnTo>
                  <a:pt x="3779378" y="3447422"/>
                </a:lnTo>
                <a:lnTo>
                  <a:pt x="3807640" y="3447422"/>
                </a:lnTo>
                <a:lnTo>
                  <a:pt x="3813322" y="3460581"/>
                </a:lnTo>
                <a:lnTo>
                  <a:pt x="3824388" y="3460581"/>
                </a:lnTo>
                <a:lnTo>
                  <a:pt x="3798817" y="3403908"/>
                </a:lnTo>
                <a:close/>
                <a:moveTo>
                  <a:pt x="3631941" y="3403908"/>
                </a:moveTo>
                <a:lnTo>
                  <a:pt x="3631941" y="3460582"/>
                </a:lnTo>
                <a:lnTo>
                  <a:pt x="3642557" y="3460582"/>
                </a:lnTo>
                <a:lnTo>
                  <a:pt x="3642557" y="3443983"/>
                </a:lnTo>
                <a:lnTo>
                  <a:pt x="3657510" y="3443983"/>
                </a:lnTo>
                <a:lnTo>
                  <a:pt x="3669024" y="3460582"/>
                </a:lnTo>
                <a:lnTo>
                  <a:pt x="3679939" y="3460731"/>
                </a:lnTo>
                <a:lnTo>
                  <a:pt x="3666931" y="3442039"/>
                </a:lnTo>
                <a:cubicBezTo>
                  <a:pt x="3670575" y="3440753"/>
                  <a:pt x="3673715" y="3438346"/>
                  <a:pt x="3675903" y="3435161"/>
                </a:cubicBezTo>
                <a:cubicBezTo>
                  <a:pt x="3678047" y="3431931"/>
                  <a:pt x="3679145" y="3428118"/>
                  <a:pt x="3679043" y="3424245"/>
                </a:cubicBezTo>
                <a:cubicBezTo>
                  <a:pt x="3679107" y="3420402"/>
                  <a:pt x="3678070" y="3416604"/>
                  <a:pt x="3676053" y="3413329"/>
                </a:cubicBezTo>
                <a:cubicBezTo>
                  <a:pt x="3674016" y="3410248"/>
                  <a:pt x="3671097" y="3407856"/>
                  <a:pt x="3667679" y="3406450"/>
                </a:cubicBezTo>
                <a:cubicBezTo>
                  <a:pt x="3663762" y="3404746"/>
                  <a:pt x="3659536" y="3403893"/>
                  <a:pt x="3655267" y="3403908"/>
                </a:cubicBezTo>
                <a:close/>
                <a:moveTo>
                  <a:pt x="3561810" y="3403908"/>
                </a:moveTo>
                <a:lnTo>
                  <a:pt x="3536240" y="3460581"/>
                </a:lnTo>
                <a:lnTo>
                  <a:pt x="3547157" y="3460581"/>
                </a:lnTo>
                <a:lnTo>
                  <a:pt x="3552838" y="3447422"/>
                </a:lnTo>
                <a:lnTo>
                  <a:pt x="3581100" y="3447422"/>
                </a:lnTo>
                <a:lnTo>
                  <a:pt x="3586783" y="3460581"/>
                </a:lnTo>
                <a:lnTo>
                  <a:pt x="3597848" y="3460581"/>
                </a:lnTo>
                <a:lnTo>
                  <a:pt x="3572278" y="3403908"/>
                </a:lnTo>
                <a:close/>
                <a:moveTo>
                  <a:pt x="3231489" y="3403908"/>
                </a:moveTo>
                <a:lnTo>
                  <a:pt x="3231489" y="3460581"/>
                </a:lnTo>
                <a:lnTo>
                  <a:pt x="3241510" y="3460581"/>
                </a:lnTo>
                <a:lnTo>
                  <a:pt x="3241510" y="3423497"/>
                </a:lnTo>
                <a:lnTo>
                  <a:pt x="3260051" y="3454152"/>
                </a:lnTo>
                <a:lnTo>
                  <a:pt x="3264837" y="3454152"/>
                </a:lnTo>
                <a:lnTo>
                  <a:pt x="3283529" y="3423048"/>
                </a:lnTo>
                <a:lnTo>
                  <a:pt x="3283529" y="3460581"/>
                </a:lnTo>
                <a:lnTo>
                  <a:pt x="3293547" y="3460581"/>
                </a:lnTo>
                <a:lnTo>
                  <a:pt x="3293398" y="3403908"/>
                </a:lnTo>
                <a:lnTo>
                  <a:pt x="3284725" y="3403908"/>
                </a:lnTo>
                <a:lnTo>
                  <a:pt x="3262593" y="3441441"/>
                </a:lnTo>
                <a:lnTo>
                  <a:pt x="3240162" y="3403908"/>
                </a:lnTo>
                <a:close/>
                <a:moveTo>
                  <a:pt x="3127116" y="3403908"/>
                </a:moveTo>
                <a:lnTo>
                  <a:pt x="3127116" y="3460581"/>
                </a:lnTo>
                <a:lnTo>
                  <a:pt x="3137135" y="3460581"/>
                </a:lnTo>
                <a:lnTo>
                  <a:pt x="3137135" y="3423497"/>
                </a:lnTo>
                <a:lnTo>
                  <a:pt x="3155826" y="3454152"/>
                </a:lnTo>
                <a:lnTo>
                  <a:pt x="3160461" y="3454152"/>
                </a:lnTo>
                <a:lnTo>
                  <a:pt x="3179154" y="3423048"/>
                </a:lnTo>
                <a:lnTo>
                  <a:pt x="3179154" y="3460581"/>
                </a:lnTo>
                <a:lnTo>
                  <a:pt x="3189173" y="3460581"/>
                </a:lnTo>
                <a:lnTo>
                  <a:pt x="3189173" y="3403908"/>
                </a:lnTo>
                <a:lnTo>
                  <a:pt x="3180350" y="3403908"/>
                </a:lnTo>
                <a:lnTo>
                  <a:pt x="3158217" y="3441441"/>
                </a:lnTo>
                <a:lnTo>
                  <a:pt x="3135789" y="3403908"/>
                </a:lnTo>
                <a:close/>
                <a:moveTo>
                  <a:pt x="2714701" y="3403908"/>
                </a:moveTo>
                <a:lnTo>
                  <a:pt x="2714701" y="3460731"/>
                </a:lnTo>
                <a:lnTo>
                  <a:pt x="2739524" y="3460731"/>
                </a:lnTo>
                <a:cubicBezTo>
                  <a:pt x="2745095" y="3460791"/>
                  <a:pt x="2750611" y="3459625"/>
                  <a:pt x="2755673" y="3457292"/>
                </a:cubicBezTo>
                <a:cubicBezTo>
                  <a:pt x="2760201" y="3455079"/>
                  <a:pt x="2763992" y="3451595"/>
                  <a:pt x="2766589" y="3447273"/>
                </a:cubicBezTo>
                <a:cubicBezTo>
                  <a:pt x="2771932" y="3438017"/>
                  <a:pt x="2771932" y="3426623"/>
                  <a:pt x="2766589" y="3417366"/>
                </a:cubicBezTo>
                <a:cubicBezTo>
                  <a:pt x="2763992" y="3413045"/>
                  <a:pt x="2760201" y="3409561"/>
                  <a:pt x="2755673" y="3407348"/>
                </a:cubicBezTo>
                <a:cubicBezTo>
                  <a:pt x="2750634" y="3404955"/>
                  <a:pt x="2745102" y="3403774"/>
                  <a:pt x="2739524" y="3403908"/>
                </a:cubicBezTo>
                <a:close/>
                <a:moveTo>
                  <a:pt x="3718072" y="3403759"/>
                </a:moveTo>
                <a:lnTo>
                  <a:pt x="3718072" y="3460582"/>
                </a:lnTo>
                <a:lnTo>
                  <a:pt x="3728539" y="3460582"/>
                </a:lnTo>
                <a:lnTo>
                  <a:pt x="3728539" y="3403759"/>
                </a:lnTo>
                <a:close/>
                <a:moveTo>
                  <a:pt x="3335714" y="3403759"/>
                </a:moveTo>
                <a:lnTo>
                  <a:pt x="3335714" y="3460582"/>
                </a:lnTo>
                <a:lnTo>
                  <a:pt x="3346182" y="3460582"/>
                </a:lnTo>
                <a:lnTo>
                  <a:pt x="3346182" y="3403759"/>
                </a:lnTo>
                <a:close/>
                <a:moveTo>
                  <a:pt x="4306486" y="3403160"/>
                </a:moveTo>
                <a:cubicBezTo>
                  <a:pt x="4301282" y="3403220"/>
                  <a:pt x="4296153" y="3404491"/>
                  <a:pt x="4291532" y="3406898"/>
                </a:cubicBezTo>
                <a:cubicBezTo>
                  <a:pt x="4282216" y="3411938"/>
                  <a:pt x="4276459" y="3421732"/>
                  <a:pt x="4276579" y="3432319"/>
                </a:cubicBezTo>
                <a:cubicBezTo>
                  <a:pt x="4276534" y="3437583"/>
                  <a:pt x="4277940" y="3442742"/>
                  <a:pt x="4280616" y="3447273"/>
                </a:cubicBezTo>
                <a:cubicBezTo>
                  <a:pt x="4283188" y="3451639"/>
                  <a:pt x="4286912" y="3455213"/>
                  <a:pt x="4291383" y="3457590"/>
                </a:cubicBezTo>
                <a:lnTo>
                  <a:pt x="4290785" y="3457740"/>
                </a:lnTo>
                <a:cubicBezTo>
                  <a:pt x="4299577" y="3462196"/>
                  <a:pt x="4309865" y="3462690"/>
                  <a:pt x="4319046" y="3459086"/>
                </a:cubicBezTo>
                <a:cubicBezTo>
                  <a:pt x="4322845" y="3457546"/>
                  <a:pt x="4326224" y="3455138"/>
                  <a:pt x="4328916" y="3452058"/>
                </a:cubicBezTo>
                <a:lnTo>
                  <a:pt x="4322037" y="3445628"/>
                </a:lnTo>
                <a:cubicBezTo>
                  <a:pt x="4318284" y="3449949"/>
                  <a:pt x="4312811" y="3452402"/>
                  <a:pt x="4307084" y="3452357"/>
                </a:cubicBezTo>
                <a:cubicBezTo>
                  <a:pt x="4303435" y="3452402"/>
                  <a:pt x="4299831" y="3451534"/>
                  <a:pt x="4296616" y="3449815"/>
                </a:cubicBezTo>
                <a:cubicBezTo>
                  <a:pt x="4293596" y="3448140"/>
                  <a:pt x="4291114" y="3445658"/>
                  <a:pt x="4289439" y="3442637"/>
                </a:cubicBezTo>
                <a:cubicBezTo>
                  <a:pt x="4287599" y="3439512"/>
                  <a:pt x="4286672" y="3435938"/>
                  <a:pt x="4286747" y="3432319"/>
                </a:cubicBezTo>
                <a:cubicBezTo>
                  <a:pt x="4286717" y="3428700"/>
                  <a:pt x="4287644" y="3425142"/>
                  <a:pt x="4289439" y="3422001"/>
                </a:cubicBezTo>
                <a:cubicBezTo>
                  <a:pt x="4291084" y="3418996"/>
                  <a:pt x="4293581" y="3416543"/>
                  <a:pt x="4296616" y="3414973"/>
                </a:cubicBezTo>
                <a:cubicBezTo>
                  <a:pt x="4299831" y="3413254"/>
                  <a:pt x="4303435" y="3412386"/>
                  <a:pt x="4307084" y="3412431"/>
                </a:cubicBezTo>
                <a:cubicBezTo>
                  <a:pt x="4312781" y="3412386"/>
                  <a:pt x="4318224" y="3414779"/>
                  <a:pt x="4322037" y="3419011"/>
                </a:cubicBezTo>
                <a:lnTo>
                  <a:pt x="4328916" y="3412730"/>
                </a:lnTo>
                <a:cubicBezTo>
                  <a:pt x="4326254" y="3409635"/>
                  <a:pt x="4322934" y="3407183"/>
                  <a:pt x="4319196" y="3405553"/>
                </a:cubicBezTo>
                <a:cubicBezTo>
                  <a:pt x="4315144" y="3403967"/>
                  <a:pt x="4310837" y="3403160"/>
                  <a:pt x="4306486" y="3403160"/>
                </a:cubicBezTo>
                <a:close/>
                <a:moveTo>
                  <a:pt x="2973096" y="3403160"/>
                </a:moveTo>
                <a:cubicBezTo>
                  <a:pt x="2967887" y="3403220"/>
                  <a:pt x="2962764" y="3404491"/>
                  <a:pt x="2958142" y="3406898"/>
                </a:cubicBezTo>
                <a:cubicBezTo>
                  <a:pt x="2948829" y="3411938"/>
                  <a:pt x="2943074" y="3421732"/>
                  <a:pt x="2943189" y="3432319"/>
                </a:cubicBezTo>
                <a:cubicBezTo>
                  <a:pt x="2943147" y="3437583"/>
                  <a:pt x="2944543" y="3442742"/>
                  <a:pt x="2947226" y="3447273"/>
                </a:cubicBezTo>
                <a:cubicBezTo>
                  <a:pt x="2949797" y="3451639"/>
                  <a:pt x="2953523" y="3455213"/>
                  <a:pt x="2957993" y="3457590"/>
                </a:cubicBezTo>
                <a:lnTo>
                  <a:pt x="2957394" y="3457740"/>
                </a:lnTo>
                <a:cubicBezTo>
                  <a:pt x="2966192" y="3462196"/>
                  <a:pt x="2976475" y="3462690"/>
                  <a:pt x="2985656" y="3459086"/>
                </a:cubicBezTo>
                <a:cubicBezTo>
                  <a:pt x="2989452" y="3457546"/>
                  <a:pt x="2992834" y="3455138"/>
                  <a:pt x="2995526" y="3452058"/>
                </a:cubicBezTo>
                <a:lnTo>
                  <a:pt x="2988647" y="3445628"/>
                </a:lnTo>
                <a:cubicBezTo>
                  <a:pt x="2984886" y="3449949"/>
                  <a:pt x="2979422" y="3452402"/>
                  <a:pt x="2973694" y="3452357"/>
                </a:cubicBezTo>
                <a:cubicBezTo>
                  <a:pt x="2970047" y="3452402"/>
                  <a:pt x="2966446" y="3451534"/>
                  <a:pt x="2963226" y="3449815"/>
                </a:cubicBezTo>
                <a:cubicBezTo>
                  <a:pt x="2960207" y="3448140"/>
                  <a:pt x="2957720" y="3445658"/>
                  <a:pt x="2956049" y="3442637"/>
                </a:cubicBezTo>
                <a:cubicBezTo>
                  <a:pt x="2954214" y="3439512"/>
                  <a:pt x="2953282" y="3435938"/>
                  <a:pt x="2953357" y="3432319"/>
                </a:cubicBezTo>
                <a:cubicBezTo>
                  <a:pt x="2953327" y="3428700"/>
                  <a:pt x="2954256" y="3425142"/>
                  <a:pt x="2956049" y="3422001"/>
                </a:cubicBezTo>
                <a:cubicBezTo>
                  <a:pt x="2957689" y="3418996"/>
                  <a:pt x="2960188" y="3416543"/>
                  <a:pt x="2963226" y="3414973"/>
                </a:cubicBezTo>
                <a:cubicBezTo>
                  <a:pt x="2966446" y="3413254"/>
                  <a:pt x="2970047" y="3412386"/>
                  <a:pt x="2973694" y="3412431"/>
                </a:cubicBezTo>
                <a:cubicBezTo>
                  <a:pt x="2979391" y="3412386"/>
                  <a:pt x="2984835" y="3414779"/>
                  <a:pt x="2988647" y="3419011"/>
                </a:cubicBezTo>
                <a:lnTo>
                  <a:pt x="2995526" y="3412730"/>
                </a:lnTo>
                <a:cubicBezTo>
                  <a:pt x="2992868" y="3409635"/>
                  <a:pt x="2989546" y="3407183"/>
                  <a:pt x="2985806" y="3405553"/>
                </a:cubicBezTo>
                <a:cubicBezTo>
                  <a:pt x="2981755" y="3403967"/>
                  <a:pt x="2977444" y="3403160"/>
                  <a:pt x="2973096" y="3403160"/>
                </a:cubicBezTo>
                <a:close/>
                <a:moveTo>
                  <a:pt x="4824322" y="3403011"/>
                </a:moveTo>
                <a:cubicBezTo>
                  <a:pt x="4820030" y="3402892"/>
                  <a:pt x="4815753" y="3403654"/>
                  <a:pt x="4811761" y="3405254"/>
                </a:cubicBezTo>
                <a:cubicBezTo>
                  <a:pt x="4808666" y="3406495"/>
                  <a:pt x="4806004" y="3408634"/>
                  <a:pt x="4804135" y="3411385"/>
                </a:cubicBezTo>
                <a:cubicBezTo>
                  <a:pt x="4802445" y="3413897"/>
                  <a:pt x="4801563" y="3416873"/>
                  <a:pt x="4801593" y="3419909"/>
                </a:cubicBezTo>
                <a:cubicBezTo>
                  <a:pt x="4801398" y="3423153"/>
                  <a:pt x="4802415" y="3426339"/>
                  <a:pt x="4804434" y="3428881"/>
                </a:cubicBezTo>
                <a:cubicBezTo>
                  <a:pt x="4806333" y="3430989"/>
                  <a:pt x="4808681" y="3432619"/>
                  <a:pt x="4811312" y="3433666"/>
                </a:cubicBezTo>
                <a:cubicBezTo>
                  <a:pt x="4814722" y="3434937"/>
                  <a:pt x="4818221" y="3435983"/>
                  <a:pt x="4821780" y="3436806"/>
                </a:cubicBezTo>
                <a:lnTo>
                  <a:pt x="4829107" y="3438750"/>
                </a:lnTo>
                <a:cubicBezTo>
                  <a:pt x="4830722" y="3439258"/>
                  <a:pt x="4832217" y="3440126"/>
                  <a:pt x="4833444" y="3441292"/>
                </a:cubicBezTo>
                <a:cubicBezTo>
                  <a:pt x="4834580" y="3442264"/>
                  <a:pt x="4835238" y="3443684"/>
                  <a:pt x="4835238" y="3445180"/>
                </a:cubicBezTo>
                <a:cubicBezTo>
                  <a:pt x="4835253" y="3447408"/>
                  <a:pt x="4834042" y="3449471"/>
                  <a:pt x="4832098" y="3450563"/>
                </a:cubicBezTo>
                <a:cubicBezTo>
                  <a:pt x="4829212" y="3452118"/>
                  <a:pt x="4825952" y="3452851"/>
                  <a:pt x="4822677" y="3452657"/>
                </a:cubicBezTo>
                <a:cubicBezTo>
                  <a:pt x="4819208" y="3452657"/>
                  <a:pt x="4815769" y="3452044"/>
                  <a:pt x="4812509" y="3450862"/>
                </a:cubicBezTo>
                <a:cubicBezTo>
                  <a:pt x="4809428" y="3449860"/>
                  <a:pt x="4806557" y="3448350"/>
                  <a:pt x="4803985" y="3446376"/>
                </a:cubicBezTo>
                <a:lnTo>
                  <a:pt x="4800247" y="3454601"/>
                </a:lnTo>
                <a:cubicBezTo>
                  <a:pt x="4803103" y="3456918"/>
                  <a:pt x="4806408" y="3458593"/>
                  <a:pt x="4809967" y="3459535"/>
                </a:cubicBezTo>
                <a:cubicBezTo>
                  <a:pt x="4814094" y="3460746"/>
                  <a:pt x="4818370" y="3461344"/>
                  <a:pt x="4822677" y="3461330"/>
                </a:cubicBezTo>
                <a:cubicBezTo>
                  <a:pt x="4827014" y="3461434"/>
                  <a:pt x="4831335" y="3460672"/>
                  <a:pt x="4835387" y="3459087"/>
                </a:cubicBezTo>
                <a:cubicBezTo>
                  <a:pt x="4838468" y="3457905"/>
                  <a:pt x="4841130" y="3455827"/>
                  <a:pt x="4843014" y="3453105"/>
                </a:cubicBezTo>
                <a:cubicBezTo>
                  <a:pt x="4844703" y="3450593"/>
                  <a:pt x="4845586" y="3447617"/>
                  <a:pt x="4845556" y="3444582"/>
                </a:cubicBezTo>
                <a:cubicBezTo>
                  <a:pt x="4845750" y="3441382"/>
                  <a:pt x="4844733" y="3438241"/>
                  <a:pt x="4842715" y="3435759"/>
                </a:cubicBezTo>
                <a:cubicBezTo>
                  <a:pt x="4840816" y="3433651"/>
                  <a:pt x="4838468" y="3432021"/>
                  <a:pt x="4835836" y="3430974"/>
                </a:cubicBezTo>
                <a:cubicBezTo>
                  <a:pt x="4832427" y="3429703"/>
                  <a:pt x="4828928" y="3428656"/>
                  <a:pt x="4825369" y="3427834"/>
                </a:cubicBezTo>
                <a:lnTo>
                  <a:pt x="4818191" y="3425890"/>
                </a:lnTo>
                <a:cubicBezTo>
                  <a:pt x="4816546" y="3425396"/>
                  <a:pt x="4815021" y="3424589"/>
                  <a:pt x="4813705" y="3423497"/>
                </a:cubicBezTo>
                <a:cubicBezTo>
                  <a:pt x="4812524" y="3422495"/>
                  <a:pt x="4811866" y="3421015"/>
                  <a:pt x="4811911" y="3419460"/>
                </a:cubicBezTo>
                <a:cubicBezTo>
                  <a:pt x="4811911" y="3417187"/>
                  <a:pt x="4813107" y="3415094"/>
                  <a:pt x="4815051" y="3413927"/>
                </a:cubicBezTo>
                <a:cubicBezTo>
                  <a:pt x="4817832" y="3412237"/>
                  <a:pt x="4821092" y="3411505"/>
                  <a:pt x="4824322" y="3411834"/>
                </a:cubicBezTo>
                <a:cubicBezTo>
                  <a:pt x="4826954" y="3411819"/>
                  <a:pt x="4829571" y="3412178"/>
                  <a:pt x="4832098" y="3412880"/>
                </a:cubicBezTo>
                <a:cubicBezTo>
                  <a:pt x="4834804" y="3413673"/>
                  <a:pt x="4837421" y="3414765"/>
                  <a:pt x="4839873" y="3416170"/>
                </a:cubicBezTo>
                <a:lnTo>
                  <a:pt x="4843313" y="3408095"/>
                </a:lnTo>
                <a:cubicBezTo>
                  <a:pt x="4840636" y="3406391"/>
                  <a:pt x="4837705" y="3405135"/>
                  <a:pt x="4834640" y="3404357"/>
                </a:cubicBezTo>
                <a:cubicBezTo>
                  <a:pt x="4831275" y="3403460"/>
                  <a:pt x="4827806" y="3403011"/>
                  <a:pt x="4824322" y="3403011"/>
                </a:cubicBezTo>
                <a:close/>
                <a:moveTo>
                  <a:pt x="3485698" y="3403011"/>
                </a:moveTo>
                <a:cubicBezTo>
                  <a:pt x="3481402" y="3402892"/>
                  <a:pt x="3477127" y="3403654"/>
                  <a:pt x="3473137" y="3405254"/>
                </a:cubicBezTo>
                <a:cubicBezTo>
                  <a:pt x="3470024" y="3406540"/>
                  <a:pt x="3467332" y="3408664"/>
                  <a:pt x="3465361" y="3411385"/>
                </a:cubicBezTo>
                <a:cubicBezTo>
                  <a:pt x="3463669" y="3413897"/>
                  <a:pt x="3462782" y="3416873"/>
                  <a:pt x="3462819" y="3419909"/>
                </a:cubicBezTo>
                <a:cubicBezTo>
                  <a:pt x="3462685" y="3423168"/>
                  <a:pt x="3463747" y="3426354"/>
                  <a:pt x="3465810" y="3428881"/>
                </a:cubicBezTo>
                <a:cubicBezTo>
                  <a:pt x="3467677" y="3431019"/>
                  <a:pt x="3470039" y="3432664"/>
                  <a:pt x="3472688" y="3433666"/>
                </a:cubicBezTo>
                <a:cubicBezTo>
                  <a:pt x="3476105" y="3434937"/>
                  <a:pt x="3479601" y="3435983"/>
                  <a:pt x="3483156" y="3436806"/>
                </a:cubicBezTo>
                <a:lnTo>
                  <a:pt x="3490483" y="3438750"/>
                </a:lnTo>
                <a:cubicBezTo>
                  <a:pt x="3492089" y="3439288"/>
                  <a:pt x="3493565" y="3440155"/>
                  <a:pt x="3494820" y="3441292"/>
                </a:cubicBezTo>
                <a:cubicBezTo>
                  <a:pt x="3495961" y="3442264"/>
                  <a:pt x="3496617" y="3443684"/>
                  <a:pt x="3496614" y="3445180"/>
                </a:cubicBezTo>
                <a:cubicBezTo>
                  <a:pt x="3496626" y="3447408"/>
                  <a:pt x="3495422" y="3449471"/>
                  <a:pt x="3493474" y="3450563"/>
                </a:cubicBezTo>
                <a:cubicBezTo>
                  <a:pt x="3490589" y="3452118"/>
                  <a:pt x="3487326" y="3452851"/>
                  <a:pt x="3484053" y="3452657"/>
                </a:cubicBezTo>
                <a:cubicBezTo>
                  <a:pt x="3480585" y="3452657"/>
                  <a:pt x="3477145" y="3452044"/>
                  <a:pt x="3473885" y="3450862"/>
                </a:cubicBezTo>
                <a:cubicBezTo>
                  <a:pt x="3470810" y="3449860"/>
                  <a:pt x="3467927" y="3448350"/>
                  <a:pt x="3465361" y="3446376"/>
                </a:cubicBezTo>
                <a:lnTo>
                  <a:pt x="3461622" y="3454601"/>
                </a:lnTo>
                <a:cubicBezTo>
                  <a:pt x="3464476" y="3456918"/>
                  <a:pt x="3467790" y="3458593"/>
                  <a:pt x="3471343" y="3459535"/>
                </a:cubicBezTo>
                <a:cubicBezTo>
                  <a:pt x="3475471" y="3460746"/>
                  <a:pt x="3479752" y="3461344"/>
                  <a:pt x="3484053" y="3461330"/>
                </a:cubicBezTo>
                <a:cubicBezTo>
                  <a:pt x="3488349" y="3461449"/>
                  <a:pt x="3492624" y="3460687"/>
                  <a:pt x="3496614" y="3459087"/>
                </a:cubicBezTo>
                <a:cubicBezTo>
                  <a:pt x="3499736" y="3457890"/>
                  <a:pt x="3502440" y="3455812"/>
                  <a:pt x="3504390" y="3453105"/>
                </a:cubicBezTo>
                <a:cubicBezTo>
                  <a:pt x="3506082" y="3450593"/>
                  <a:pt x="3506969" y="3447617"/>
                  <a:pt x="3506932" y="3444582"/>
                </a:cubicBezTo>
                <a:cubicBezTo>
                  <a:pt x="3507129" y="3441382"/>
                  <a:pt x="3506114" y="3438241"/>
                  <a:pt x="3504091" y="3435759"/>
                </a:cubicBezTo>
                <a:cubicBezTo>
                  <a:pt x="3502196" y="3433651"/>
                  <a:pt x="3499842" y="3432021"/>
                  <a:pt x="3497212" y="3430974"/>
                </a:cubicBezTo>
                <a:cubicBezTo>
                  <a:pt x="3493788" y="3429718"/>
                  <a:pt x="3490293" y="3428671"/>
                  <a:pt x="3486745" y="3427834"/>
                </a:cubicBezTo>
                <a:lnTo>
                  <a:pt x="3479418" y="3425890"/>
                </a:lnTo>
                <a:cubicBezTo>
                  <a:pt x="3477837" y="3425367"/>
                  <a:pt x="3476366" y="3424559"/>
                  <a:pt x="3475081" y="3423497"/>
                </a:cubicBezTo>
                <a:cubicBezTo>
                  <a:pt x="3473898" y="3422495"/>
                  <a:pt x="3473239" y="3421015"/>
                  <a:pt x="3473287" y="3419460"/>
                </a:cubicBezTo>
                <a:cubicBezTo>
                  <a:pt x="3473284" y="3417187"/>
                  <a:pt x="3474477" y="3415094"/>
                  <a:pt x="3476427" y="3413927"/>
                </a:cubicBezTo>
                <a:cubicBezTo>
                  <a:pt x="3479207" y="3412237"/>
                  <a:pt x="3482462" y="3411505"/>
                  <a:pt x="3485698" y="3411834"/>
                </a:cubicBezTo>
                <a:cubicBezTo>
                  <a:pt x="3488325" y="3411819"/>
                  <a:pt x="3490942" y="3412178"/>
                  <a:pt x="3493474" y="3412880"/>
                </a:cubicBezTo>
                <a:cubicBezTo>
                  <a:pt x="3496186" y="3413673"/>
                  <a:pt x="3498797" y="3414765"/>
                  <a:pt x="3501250" y="3416170"/>
                </a:cubicBezTo>
                <a:lnTo>
                  <a:pt x="3504539" y="3408095"/>
                </a:lnTo>
                <a:cubicBezTo>
                  <a:pt x="3501890" y="3406346"/>
                  <a:pt x="3498954" y="3405090"/>
                  <a:pt x="3495866" y="3404357"/>
                </a:cubicBezTo>
                <a:cubicBezTo>
                  <a:pt x="3492551" y="3403460"/>
                  <a:pt x="3489133" y="3403011"/>
                  <a:pt x="3485698" y="3403011"/>
                </a:cubicBezTo>
                <a:close/>
                <a:moveTo>
                  <a:pt x="3407791" y="3403011"/>
                </a:moveTo>
                <a:cubicBezTo>
                  <a:pt x="3403494" y="3402892"/>
                  <a:pt x="3399219" y="3403654"/>
                  <a:pt x="3395230" y="3405254"/>
                </a:cubicBezTo>
                <a:cubicBezTo>
                  <a:pt x="3392118" y="3406540"/>
                  <a:pt x="3389425" y="3408664"/>
                  <a:pt x="3387454" y="3411385"/>
                </a:cubicBezTo>
                <a:cubicBezTo>
                  <a:pt x="3385762" y="3413897"/>
                  <a:pt x="3384875" y="3416873"/>
                  <a:pt x="3384912" y="3419909"/>
                </a:cubicBezTo>
                <a:cubicBezTo>
                  <a:pt x="3384778" y="3423168"/>
                  <a:pt x="3385840" y="3426354"/>
                  <a:pt x="3387903" y="3428881"/>
                </a:cubicBezTo>
                <a:cubicBezTo>
                  <a:pt x="3389771" y="3431019"/>
                  <a:pt x="3392131" y="3432664"/>
                  <a:pt x="3394782" y="3433666"/>
                </a:cubicBezTo>
                <a:cubicBezTo>
                  <a:pt x="3398197" y="3434937"/>
                  <a:pt x="3401694" y="3435983"/>
                  <a:pt x="3405248" y="3436806"/>
                </a:cubicBezTo>
                <a:lnTo>
                  <a:pt x="3412576" y="3438750"/>
                </a:lnTo>
                <a:cubicBezTo>
                  <a:pt x="3414182" y="3439288"/>
                  <a:pt x="3415658" y="3440155"/>
                  <a:pt x="3416913" y="3441292"/>
                </a:cubicBezTo>
                <a:cubicBezTo>
                  <a:pt x="3418053" y="3442264"/>
                  <a:pt x="3418709" y="3443684"/>
                  <a:pt x="3418707" y="3445180"/>
                </a:cubicBezTo>
                <a:cubicBezTo>
                  <a:pt x="3418719" y="3447408"/>
                  <a:pt x="3417514" y="3449471"/>
                  <a:pt x="3415566" y="3450563"/>
                </a:cubicBezTo>
                <a:cubicBezTo>
                  <a:pt x="3412682" y="3452118"/>
                  <a:pt x="3409418" y="3452851"/>
                  <a:pt x="3406146" y="3452657"/>
                </a:cubicBezTo>
                <a:cubicBezTo>
                  <a:pt x="3402677" y="3452657"/>
                  <a:pt x="3399237" y="3452044"/>
                  <a:pt x="3395978" y="3450862"/>
                </a:cubicBezTo>
                <a:cubicBezTo>
                  <a:pt x="3392903" y="3449860"/>
                  <a:pt x="3390019" y="3448350"/>
                  <a:pt x="3387454" y="3446376"/>
                </a:cubicBezTo>
                <a:lnTo>
                  <a:pt x="3383715" y="3454601"/>
                </a:lnTo>
                <a:cubicBezTo>
                  <a:pt x="3386569" y="3456918"/>
                  <a:pt x="3389883" y="3458593"/>
                  <a:pt x="3393435" y="3459535"/>
                </a:cubicBezTo>
                <a:cubicBezTo>
                  <a:pt x="3397564" y="3460746"/>
                  <a:pt x="3401846" y="3461344"/>
                  <a:pt x="3406146" y="3461330"/>
                </a:cubicBezTo>
                <a:cubicBezTo>
                  <a:pt x="3410442" y="3461449"/>
                  <a:pt x="3414717" y="3460687"/>
                  <a:pt x="3418707" y="3459087"/>
                </a:cubicBezTo>
                <a:cubicBezTo>
                  <a:pt x="3421829" y="3457890"/>
                  <a:pt x="3424533" y="3455812"/>
                  <a:pt x="3426483" y="3453105"/>
                </a:cubicBezTo>
                <a:cubicBezTo>
                  <a:pt x="3428175" y="3450593"/>
                  <a:pt x="3429061" y="3447617"/>
                  <a:pt x="3429024" y="3444582"/>
                </a:cubicBezTo>
                <a:cubicBezTo>
                  <a:pt x="3429221" y="3441382"/>
                  <a:pt x="3428207" y="3438241"/>
                  <a:pt x="3426184" y="3435759"/>
                </a:cubicBezTo>
                <a:cubicBezTo>
                  <a:pt x="3424289" y="3433651"/>
                  <a:pt x="3421935" y="3432021"/>
                  <a:pt x="3419304" y="3430974"/>
                </a:cubicBezTo>
                <a:cubicBezTo>
                  <a:pt x="3415881" y="3429718"/>
                  <a:pt x="3412386" y="3428671"/>
                  <a:pt x="3408837" y="3427834"/>
                </a:cubicBezTo>
                <a:lnTo>
                  <a:pt x="3401511" y="3425890"/>
                </a:lnTo>
                <a:cubicBezTo>
                  <a:pt x="3399930" y="3425367"/>
                  <a:pt x="3398459" y="3424559"/>
                  <a:pt x="3397174" y="3423497"/>
                </a:cubicBezTo>
                <a:cubicBezTo>
                  <a:pt x="3395990" y="3422495"/>
                  <a:pt x="3395332" y="3421015"/>
                  <a:pt x="3395379" y="3419460"/>
                </a:cubicBezTo>
                <a:cubicBezTo>
                  <a:pt x="3395377" y="3417187"/>
                  <a:pt x="3396570" y="3415094"/>
                  <a:pt x="3398520" y="3413927"/>
                </a:cubicBezTo>
                <a:cubicBezTo>
                  <a:pt x="3401300" y="3412237"/>
                  <a:pt x="3404554" y="3411505"/>
                  <a:pt x="3407791" y="3411834"/>
                </a:cubicBezTo>
                <a:cubicBezTo>
                  <a:pt x="3410417" y="3411819"/>
                  <a:pt x="3413035" y="3412178"/>
                  <a:pt x="3415566" y="3412880"/>
                </a:cubicBezTo>
                <a:cubicBezTo>
                  <a:pt x="3418279" y="3413673"/>
                  <a:pt x="3420890" y="3414765"/>
                  <a:pt x="3423343" y="3416170"/>
                </a:cubicBezTo>
                <a:lnTo>
                  <a:pt x="3426632" y="3408095"/>
                </a:lnTo>
                <a:cubicBezTo>
                  <a:pt x="3423984" y="3406346"/>
                  <a:pt x="3421046" y="3405090"/>
                  <a:pt x="3417959" y="3404357"/>
                </a:cubicBezTo>
                <a:cubicBezTo>
                  <a:pt x="3414644" y="3403460"/>
                  <a:pt x="3411226" y="3403011"/>
                  <a:pt x="3407791" y="3403011"/>
                </a:cubicBezTo>
                <a:close/>
                <a:moveTo>
                  <a:pt x="4839575" y="3351123"/>
                </a:moveTo>
                <a:cubicBezTo>
                  <a:pt x="4837825" y="3351063"/>
                  <a:pt x="4836121" y="3351766"/>
                  <a:pt x="4834939" y="3353066"/>
                </a:cubicBezTo>
                <a:cubicBezTo>
                  <a:pt x="4833728" y="3354352"/>
                  <a:pt x="4833070" y="3356087"/>
                  <a:pt x="4833145" y="3357852"/>
                </a:cubicBezTo>
                <a:cubicBezTo>
                  <a:pt x="4833100" y="3359152"/>
                  <a:pt x="4833414" y="3360438"/>
                  <a:pt x="4834042" y="3361590"/>
                </a:cubicBezTo>
                <a:cubicBezTo>
                  <a:pt x="4834745" y="3362293"/>
                  <a:pt x="4835627" y="3362801"/>
                  <a:pt x="4836584" y="3363085"/>
                </a:cubicBezTo>
                <a:lnTo>
                  <a:pt x="4833294" y="3375497"/>
                </a:lnTo>
                <a:lnTo>
                  <a:pt x="4839874" y="3375497"/>
                </a:lnTo>
                <a:lnTo>
                  <a:pt x="4844061" y="3364132"/>
                </a:lnTo>
                <a:cubicBezTo>
                  <a:pt x="4844808" y="3362188"/>
                  <a:pt x="4845556" y="3360842"/>
                  <a:pt x="4845556" y="3359795"/>
                </a:cubicBezTo>
                <a:cubicBezTo>
                  <a:pt x="4845706" y="3358898"/>
                  <a:pt x="4845706" y="3358001"/>
                  <a:pt x="4845556" y="3357104"/>
                </a:cubicBezTo>
                <a:lnTo>
                  <a:pt x="4843985" y="3352914"/>
                </a:lnTo>
                <a:lnTo>
                  <a:pt x="4844360" y="3353066"/>
                </a:lnTo>
                <a:lnTo>
                  <a:pt x="4843762" y="3352319"/>
                </a:lnTo>
                <a:lnTo>
                  <a:pt x="4843985" y="3352914"/>
                </a:lnTo>
                <a:close/>
                <a:moveTo>
                  <a:pt x="4569367" y="3338711"/>
                </a:moveTo>
                <a:lnTo>
                  <a:pt x="4586414" y="3338711"/>
                </a:lnTo>
                <a:cubicBezTo>
                  <a:pt x="4594638" y="3338711"/>
                  <a:pt x="4598676" y="3341403"/>
                  <a:pt x="4598676" y="3346786"/>
                </a:cubicBezTo>
                <a:cubicBezTo>
                  <a:pt x="4598676" y="3352319"/>
                  <a:pt x="4594638" y="3355010"/>
                  <a:pt x="4586414" y="3355010"/>
                </a:cubicBezTo>
                <a:lnTo>
                  <a:pt x="4569367" y="3355010"/>
                </a:lnTo>
                <a:close/>
                <a:moveTo>
                  <a:pt x="4078446" y="3317328"/>
                </a:moveTo>
                <a:cubicBezTo>
                  <a:pt x="4084804" y="3313948"/>
                  <a:pt x="4092424" y="3313948"/>
                  <a:pt x="4098782" y="3317328"/>
                </a:cubicBezTo>
                <a:cubicBezTo>
                  <a:pt x="4101801" y="3319002"/>
                  <a:pt x="4104288" y="3321485"/>
                  <a:pt x="4105960" y="3324505"/>
                </a:cubicBezTo>
                <a:cubicBezTo>
                  <a:pt x="4107728" y="3327646"/>
                  <a:pt x="4108607" y="3331219"/>
                  <a:pt x="4108502" y="3334823"/>
                </a:cubicBezTo>
                <a:cubicBezTo>
                  <a:pt x="4108602" y="3338382"/>
                  <a:pt x="4107723" y="3341896"/>
                  <a:pt x="4105960" y="3344991"/>
                </a:cubicBezTo>
                <a:cubicBezTo>
                  <a:pt x="4104377" y="3348072"/>
                  <a:pt x="4101866" y="3350584"/>
                  <a:pt x="4098782" y="3352169"/>
                </a:cubicBezTo>
                <a:cubicBezTo>
                  <a:pt x="4092424" y="3355549"/>
                  <a:pt x="4084804" y="3355549"/>
                  <a:pt x="4078446" y="3352169"/>
                </a:cubicBezTo>
                <a:cubicBezTo>
                  <a:pt x="4075427" y="3350494"/>
                  <a:pt x="4072940" y="3348012"/>
                  <a:pt x="4071268" y="3344991"/>
                </a:cubicBezTo>
                <a:cubicBezTo>
                  <a:pt x="4069505" y="3341896"/>
                  <a:pt x="4068626" y="3338382"/>
                  <a:pt x="4068726" y="3334823"/>
                </a:cubicBezTo>
                <a:cubicBezTo>
                  <a:pt x="4068621" y="3331219"/>
                  <a:pt x="4069501" y="3327646"/>
                  <a:pt x="4071268" y="3324505"/>
                </a:cubicBezTo>
                <a:cubicBezTo>
                  <a:pt x="4073025" y="3321559"/>
                  <a:pt x="4075492" y="3319092"/>
                  <a:pt x="4078446" y="3317328"/>
                </a:cubicBezTo>
                <a:close/>
                <a:moveTo>
                  <a:pt x="4483085" y="3317178"/>
                </a:moveTo>
                <a:lnTo>
                  <a:pt x="4493852" y="3341851"/>
                </a:lnTo>
                <a:lnTo>
                  <a:pt x="4472469" y="3341851"/>
                </a:lnTo>
                <a:close/>
                <a:moveTo>
                  <a:pt x="3304466" y="3316281"/>
                </a:moveTo>
                <a:lnTo>
                  <a:pt x="3316727" y="3316281"/>
                </a:lnTo>
                <a:cubicBezTo>
                  <a:pt x="3320440" y="3315997"/>
                  <a:pt x="3324136" y="3316999"/>
                  <a:pt x="3327194" y="3319123"/>
                </a:cubicBezTo>
                <a:cubicBezTo>
                  <a:pt x="3327357" y="3319272"/>
                  <a:pt x="3327514" y="3319437"/>
                  <a:pt x="3327666" y="3319601"/>
                </a:cubicBezTo>
                <a:cubicBezTo>
                  <a:pt x="3332030" y="3324222"/>
                  <a:pt x="3331819" y="3331504"/>
                  <a:pt x="3327194" y="3335870"/>
                </a:cubicBezTo>
                <a:cubicBezTo>
                  <a:pt x="3324136" y="3337994"/>
                  <a:pt x="3320440" y="3338996"/>
                  <a:pt x="3316727" y="3338712"/>
                </a:cubicBezTo>
                <a:lnTo>
                  <a:pt x="3304466" y="3338712"/>
                </a:lnTo>
                <a:close/>
                <a:moveTo>
                  <a:pt x="3491533" y="3315534"/>
                </a:moveTo>
                <a:lnTo>
                  <a:pt x="3503944" y="3315534"/>
                </a:lnTo>
                <a:cubicBezTo>
                  <a:pt x="3507653" y="3315265"/>
                  <a:pt x="3511346" y="3316267"/>
                  <a:pt x="3514413" y="3318375"/>
                </a:cubicBezTo>
                <a:cubicBezTo>
                  <a:pt x="3514573" y="3318525"/>
                  <a:pt x="3514730" y="3318689"/>
                  <a:pt x="3514883" y="3318853"/>
                </a:cubicBezTo>
                <a:cubicBezTo>
                  <a:pt x="3519248" y="3323474"/>
                  <a:pt x="3519036" y="3330756"/>
                  <a:pt x="3514413" y="3335123"/>
                </a:cubicBezTo>
                <a:cubicBezTo>
                  <a:pt x="3511363" y="3337276"/>
                  <a:pt x="3507671" y="3338338"/>
                  <a:pt x="3503944" y="3338114"/>
                </a:cubicBezTo>
                <a:lnTo>
                  <a:pt x="3491533" y="3338114"/>
                </a:lnTo>
                <a:close/>
                <a:moveTo>
                  <a:pt x="4293626" y="3315533"/>
                </a:moveTo>
                <a:lnTo>
                  <a:pt x="4305888" y="3315533"/>
                </a:lnTo>
                <a:cubicBezTo>
                  <a:pt x="4309596" y="3315249"/>
                  <a:pt x="4313305" y="3316251"/>
                  <a:pt x="4316355" y="3318374"/>
                </a:cubicBezTo>
                <a:cubicBezTo>
                  <a:pt x="4316520" y="3318524"/>
                  <a:pt x="4316669" y="3318688"/>
                  <a:pt x="4316834" y="3318853"/>
                </a:cubicBezTo>
                <a:cubicBezTo>
                  <a:pt x="4321185" y="3323474"/>
                  <a:pt x="4320976" y="3330756"/>
                  <a:pt x="4316355" y="3335122"/>
                </a:cubicBezTo>
                <a:cubicBezTo>
                  <a:pt x="4313305" y="3337246"/>
                  <a:pt x="4309596" y="3338248"/>
                  <a:pt x="4305888" y="3337963"/>
                </a:cubicBezTo>
                <a:lnTo>
                  <a:pt x="4293626" y="3337963"/>
                </a:lnTo>
                <a:close/>
                <a:moveTo>
                  <a:pt x="2725619" y="3315533"/>
                </a:moveTo>
                <a:lnTo>
                  <a:pt x="2739077" y="3315533"/>
                </a:lnTo>
                <a:cubicBezTo>
                  <a:pt x="2742857" y="3315429"/>
                  <a:pt x="2746607" y="3316251"/>
                  <a:pt x="2749993" y="3317926"/>
                </a:cubicBezTo>
                <a:cubicBezTo>
                  <a:pt x="2753088" y="3319331"/>
                  <a:pt x="2755656" y="3321694"/>
                  <a:pt x="2757320" y="3324655"/>
                </a:cubicBezTo>
                <a:cubicBezTo>
                  <a:pt x="2759036" y="3327825"/>
                  <a:pt x="2759910" y="3331369"/>
                  <a:pt x="2759862" y="3334973"/>
                </a:cubicBezTo>
                <a:cubicBezTo>
                  <a:pt x="2759932" y="3338532"/>
                  <a:pt x="2759055" y="3342031"/>
                  <a:pt x="2757320" y="3345141"/>
                </a:cubicBezTo>
                <a:cubicBezTo>
                  <a:pt x="2755617" y="3348117"/>
                  <a:pt x="2753066" y="3350509"/>
                  <a:pt x="2749993" y="3352020"/>
                </a:cubicBezTo>
                <a:cubicBezTo>
                  <a:pt x="2746582" y="3353635"/>
                  <a:pt x="2742850" y="3354442"/>
                  <a:pt x="2739077" y="3354412"/>
                </a:cubicBezTo>
                <a:lnTo>
                  <a:pt x="2725619" y="3354412"/>
                </a:lnTo>
                <a:close/>
                <a:moveTo>
                  <a:pt x="4583722" y="3314038"/>
                </a:moveTo>
                <a:cubicBezTo>
                  <a:pt x="4586713" y="3313873"/>
                  <a:pt x="4589674" y="3314591"/>
                  <a:pt x="4592246" y="3316131"/>
                </a:cubicBezTo>
                <a:cubicBezTo>
                  <a:pt x="4594205" y="3317402"/>
                  <a:pt x="4595296" y="3319645"/>
                  <a:pt x="4595087" y="3321963"/>
                </a:cubicBezTo>
                <a:cubicBezTo>
                  <a:pt x="4595236" y="3324266"/>
                  <a:pt x="4594145" y="3326479"/>
                  <a:pt x="4592246" y="3327795"/>
                </a:cubicBezTo>
                <a:cubicBezTo>
                  <a:pt x="4589659" y="3329275"/>
                  <a:pt x="4586698" y="3329948"/>
                  <a:pt x="4583722" y="3329739"/>
                </a:cubicBezTo>
                <a:lnTo>
                  <a:pt x="4568769" y="3329739"/>
                </a:lnTo>
                <a:lnTo>
                  <a:pt x="4568769" y="3314786"/>
                </a:lnTo>
                <a:close/>
                <a:moveTo>
                  <a:pt x="4006071" y="3308206"/>
                </a:moveTo>
                <a:cubicBezTo>
                  <a:pt x="3996890" y="3304602"/>
                  <a:pt x="3986605" y="3305096"/>
                  <a:pt x="3977810" y="3309552"/>
                </a:cubicBezTo>
                <a:cubicBezTo>
                  <a:pt x="3973288" y="3311989"/>
                  <a:pt x="3969513" y="3315608"/>
                  <a:pt x="3966894" y="3320019"/>
                </a:cubicBezTo>
                <a:cubicBezTo>
                  <a:pt x="3964310" y="3324580"/>
                  <a:pt x="3962970" y="3329739"/>
                  <a:pt x="3963006" y="3334973"/>
                </a:cubicBezTo>
                <a:cubicBezTo>
                  <a:pt x="3962970" y="3340206"/>
                  <a:pt x="3964310" y="3345365"/>
                  <a:pt x="3966894" y="3349926"/>
                </a:cubicBezTo>
                <a:cubicBezTo>
                  <a:pt x="3969513" y="3354337"/>
                  <a:pt x="3973288" y="3357956"/>
                  <a:pt x="3977810" y="3360393"/>
                </a:cubicBezTo>
                <a:lnTo>
                  <a:pt x="3978258" y="3360393"/>
                </a:lnTo>
                <a:cubicBezTo>
                  <a:pt x="3982852" y="3362876"/>
                  <a:pt x="3987993" y="3364147"/>
                  <a:pt x="3993212" y="3364132"/>
                </a:cubicBezTo>
                <a:cubicBezTo>
                  <a:pt x="3997617" y="3364221"/>
                  <a:pt x="4001992" y="3363399"/>
                  <a:pt x="4006071" y="3361739"/>
                </a:cubicBezTo>
                <a:cubicBezTo>
                  <a:pt x="4009796" y="3360154"/>
                  <a:pt x="4013118" y="3357747"/>
                  <a:pt x="4015791" y="3354711"/>
                </a:cubicBezTo>
                <a:lnTo>
                  <a:pt x="4009062" y="3348131"/>
                </a:lnTo>
                <a:cubicBezTo>
                  <a:pt x="4005266" y="3352408"/>
                  <a:pt x="3999826" y="3354861"/>
                  <a:pt x="3994109" y="3354861"/>
                </a:cubicBezTo>
                <a:cubicBezTo>
                  <a:pt x="3990463" y="3354890"/>
                  <a:pt x="3986868" y="3354008"/>
                  <a:pt x="3983641" y="3352318"/>
                </a:cubicBezTo>
                <a:cubicBezTo>
                  <a:pt x="3980661" y="3350659"/>
                  <a:pt x="3978182" y="3348236"/>
                  <a:pt x="3976464" y="3345290"/>
                </a:cubicBezTo>
                <a:cubicBezTo>
                  <a:pt x="3974786" y="3342105"/>
                  <a:pt x="3973913" y="3338561"/>
                  <a:pt x="3973922" y="3334973"/>
                </a:cubicBezTo>
                <a:cubicBezTo>
                  <a:pt x="3973874" y="3331369"/>
                  <a:pt x="3974750" y="3327825"/>
                  <a:pt x="3976464" y="3324655"/>
                </a:cubicBezTo>
                <a:cubicBezTo>
                  <a:pt x="3978182" y="3321709"/>
                  <a:pt x="3980661" y="3319286"/>
                  <a:pt x="3983641" y="3317626"/>
                </a:cubicBezTo>
                <a:cubicBezTo>
                  <a:pt x="3986829" y="3315817"/>
                  <a:pt x="3990442" y="3314890"/>
                  <a:pt x="3994109" y="3314935"/>
                </a:cubicBezTo>
                <a:cubicBezTo>
                  <a:pt x="3999826" y="3314950"/>
                  <a:pt x="4005266" y="3317387"/>
                  <a:pt x="4009062" y="3321664"/>
                </a:cubicBezTo>
                <a:lnTo>
                  <a:pt x="4015791" y="3315234"/>
                </a:lnTo>
                <a:cubicBezTo>
                  <a:pt x="4013158" y="3312154"/>
                  <a:pt x="4009826" y="3309746"/>
                  <a:pt x="4006071" y="3308206"/>
                </a:cubicBezTo>
                <a:close/>
                <a:moveTo>
                  <a:pt x="3293849" y="3307309"/>
                </a:moveTo>
                <a:lnTo>
                  <a:pt x="3293849" y="3363983"/>
                </a:lnTo>
                <a:lnTo>
                  <a:pt x="3304615" y="3363983"/>
                </a:lnTo>
                <a:lnTo>
                  <a:pt x="3304615" y="3347684"/>
                </a:lnTo>
                <a:lnTo>
                  <a:pt x="3317474" y="3347684"/>
                </a:lnTo>
                <a:cubicBezTo>
                  <a:pt x="3321827" y="3347728"/>
                  <a:pt x="3326146" y="3346921"/>
                  <a:pt x="3330186" y="3345291"/>
                </a:cubicBezTo>
                <a:cubicBezTo>
                  <a:pt x="3333661" y="3343841"/>
                  <a:pt x="3336627" y="3341403"/>
                  <a:pt x="3338708" y="3338263"/>
                </a:cubicBezTo>
                <a:cubicBezTo>
                  <a:pt x="3340654" y="3335018"/>
                  <a:pt x="3341639" y="3331280"/>
                  <a:pt x="3341549" y="3327497"/>
                </a:cubicBezTo>
                <a:cubicBezTo>
                  <a:pt x="3341681" y="3323713"/>
                  <a:pt x="3340693" y="3319960"/>
                  <a:pt x="3338708" y="3316730"/>
                </a:cubicBezTo>
                <a:cubicBezTo>
                  <a:pt x="3336626" y="3313246"/>
                  <a:pt x="3333482" y="3310524"/>
                  <a:pt x="3329735" y="3308954"/>
                </a:cubicBezTo>
                <a:lnTo>
                  <a:pt x="3330036" y="3309702"/>
                </a:lnTo>
                <a:cubicBezTo>
                  <a:pt x="3326023" y="3307982"/>
                  <a:pt x="3321685" y="3307175"/>
                  <a:pt x="3317325" y="3307309"/>
                </a:cubicBezTo>
                <a:close/>
                <a:moveTo>
                  <a:pt x="4744022" y="3306561"/>
                </a:moveTo>
                <a:lnTo>
                  <a:pt x="4744022" y="3363234"/>
                </a:lnTo>
                <a:lnTo>
                  <a:pt x="4786639" y="3363234"/>
                </a:lnTo>
                <a:lnTo>
                  <a:pt x="4786639" y="3354412"/>
                </a:lnTo>
                <a:lnTo>
                  <a:pt x="4754639" y="3354412"/>
                </a:lnTo>
                <a:lnTo>
                  <a:pt x="4754639" y="3338860"/>
                </a:lnTo>
                <a:lnTo>
                  <a:pt x="4782004" y="3338860"/>
                </a:lnTo>
                <a:lnTo>
                  <a:pt x="4782004" y="3330187"/>
                </a:lnTo>
                <a:lnTo>
                  <a:pt x="4754639" y="3330187"/>
                </a:lnTo>
                <a:lnTo>
                  <a:pt x="4754639" y="3315384"/>
                </a:lnTo>
                <a:lnTo>
                  <a:pt x="4785443" y="3315384"/>
                </a:lnTo>
                <a:lnTo>
                  <a:pt x="4785443" y="3306561"/>
                </a:lnTo>
                <a:close/>
                <a:moveTo>
                  <a:pt x="4657891" y="3306561"/>
                </a:moveTo>
                <a:lnTo>
                  <a:pt x="4657891" y="3363234"/>
                </a:lnTo>
                <a:lnTo>
                  <a:pt x="4698116" y="3363234"/>
                </a:lnTo>
                <a:lnTo>
                  <a:pt x="4698116" y="3354412"/>
                </a:lnTo>
                <a:lnTo>
                  <a:pt x="4668508" y="3354412"/>
                </a:lnTo>
                <a:lnTo>
                  <a:pt x="4668508" y="3306561"/>
                </a:lnTo>
                <a:close/>
                <a:moveTo>
                  <a:pt x="4558750" y="3306561"/>
                </a:moveTo>
                <a:lnTo>
                  <a:pt x="4558750" y="3363235"/>
                </a:lnTo>
                <a:lnTo>
                  <a:pt x="4586862" y="3363235"/>
                </a:lnTo>
                <a:cubicBezTo>
                  <a:pt x="4592649" y="3363579"/>
                  <a:pt x="4598421" y="3362233"/>
                  <a:pt x="4603461" y="3359347"/>
                </a:cubicBezTo>
                <a:cubicBezTo>
                  <a:pt x="4607184" y="3356715"/>
                  <a:pt x="4609322" y="3352379"/>
                  <a:pt x="4609143" y="3347833"/>
                </a:cubicBezTo>
                <a:cubicBezTo>
                  <a:pt x="4609203" y="3344678"/>
                  <a:pt x="4608261" y="3341597"/>
                  <a:pt x="4606451" y="3339010"/>
                </a:cubicBezTo>
                <a:lnTo>
                  <a:pt x="4606003" y="3339010"/>
                </a:lnTo>
                <a:cubicBezTo>
                  <a:pt x="4604074" y="3336573"/>
                  <a:pt x="4601472" y="3334748"/>
                  <a:pt x="4598526" y="3333776"/>
                </a:cubicBezTo>
                <a:cubicBezTo>
                  <a:pt x="4600709" y="3332670"/>
                  <a:pt x="4602519" y="3330950"/>
                  <a:pt x="4603760" y="3328842"/>
                </a:cubicBezTo>
                <a:cubicBezTo>
                  <a:pt x="4605046" y="3326569"/>
                  <a:pt x="4605719" y="3323982"/>
                  <a:pt x="4605704" y="3321365"/>
                </a:cubicBezTo>
                <a:cubicBezTo>
                  <a:pt x="4605853" y="3317059"/>
                  <a:pt x="4603835" y="3312961"/>
                  <a:pt x="4600321" y="3310449"/>
                </a:cubicBezTo>
                <a:cubicBezTo>
                  <a:pt x="4595835" y="3307698"/>
                  <a:pt x="4590631" y="3306352"/>
                  <a:pt x="4585367" y="3306561"/>
                </a:cubicBezTo>
                <a:close/>
                <a:moveTo>
                  <a:pt x="4478001" y="3306561"/>
                </a:moveTo>
                <a:lnTo>
                  <a:pt x="4452431" y="3363384"/>
                </a:lnTo>
                <a:lnTo>
                  <a:pt x="4463347" y="3363384"/>
                </a:lnTo>
                <a:lnTo>
                  <a:pt x="4468880" y="3350225"/>
                </a:lnTo>
                <a:lnTo>
                  <a:pt x="4497291" y="3350225"/>
                </a:lnTo>
                <a:lnTo>
                  <a:pt x="4502973" y="3363384"/>
                </a:lnTo>
                <a:lnTo>
                  <a:pt x="4514039" y="3363384"/>
                </a:lnTo>
                <a:lnTo>
                  <a:pt x="4488319" y="3306561"/>
                </a:lnTo>
                <a:close/>
                <a:moveTo>
                  <a:pt x="4369589" y="3306561"/>
                </a:moveTo>
                <a:lnTo>
                  <a:pt x="4369589" y="3315533"/>
                </a:lnTo>
                <a:lnTo>
                  <a:pt x="4388430" y="3315533"/>
                </a:lnTo>
                <a:lnTo>
                  <a:pt x="4388430" y="3363234"/>
                </a:lnTo>
                <a:lnTo>
                  <a:pt x="4399047" y="3363234"/>
                </a:lnTo>
                <a:lnTo>
                  <a:pt x="4399047" y="3315533"/>
                </a:lnTo>
                <a:lnTo>
                  <a:pt x="4417888" y="3315533"/>
                </a:lnTo>
                <a:lnTo>
                  <a:pt x="4417888" y="3306561"/>
                </a:lnTo>
                <a:close/>
                <a:moveTo>
                  <a:pt x="4283009" y="3306561"/>
                </a:moveTo>
                <a:lnTo>
                  <a:pt x="4283009" y="3363235"/>
                </a:lnTo>
                <a:lnTo>
                  <a:pt x="4293626" y="3363235"/>
                </a:lnTo>
                <a:lnTo>
                  <a:pt x="4293626" y="3346935"/>
                </a:lnTo>
                <a:lnTo>
                  <a:pt x="4306336" y="3346935"/>
                </a:lnTo>
                <a:cubicBezTo>
                  <a:pt x="4310733" y="3346995"/>
                  <a:pt x="4315114" y="3346173"/>
                  <a:pt x="4319196" y="3344543"/>
                </a:cubicBezTo>
                <a:cubicBezTo>
                  <a:pt x="4322606" y="3343048"/>
                  <a:pt x="4325507" y="3340610"/>
                  <a:pt x="4327570" y="3337515"/>
                </a:cubicBezTo>
                <a:cubicBezTo>
                  <a:pt x="4329574" y="3334285"/>
                  <a:pt x="4330606" y="3330547"/>
                  <a:pt x="4330561" y="3326748"/>
                </a:cubicBezTo>
                <a:cubicBezTo>
                  <a:pt x="4330800" y="3319047"/>
                  <a:pt x="4326299" y="3311974"/>
                  <a:pt x="4319196" y="3308954"/>
                </a:cubicBezTo>
                <a:cubicBezTo>
                  <a:pt x="4315129" y="3307249"/>
                  <a:pt x="4310748" y="3306427"/>
                  <a:pt x="4306336" y="3306561"/>
                </a:cubicBezTo>
                <a:close/>
                <a:moveTo>
                  <a:pt x="4168017" y="3306561"/>
                </a:moveTo>
                <a:lnTo>
                  <a:pt x="4168017" y="3363234"/>
                </a:lnTo>
                <a:lnTo>
                  <a:pt x="4178185" y="3363234"/>
                </a:lnTo>
                <a:lnTo>
                  <a:pt x="4178185" y="3326150"/>
                </a:lnTo>
                <a:lnTo>
                  <a:pt x="4196728" y="3356805"/>
                </a:lnTo>
                <a:lnTo>
                  <a:pt x="4201513" y="3356805"/>
                </a:lnTo>
                <a:lnTo>
                  <a:pt x="4220055" y="3325701"/>
                </a:lnTo>
                <a:lnTo>
                  <a:pt x="4220204" y="3363234"/>
                </a:lnTo>
                <a:lnTo>
                  <a:pt x="4230223" y="3363234"/>
                </a:lnTo>
                <a:lnTo>
                  <a:pt x="4230074" y="3306561"/>
                </a:lnTo>
                <a:lnTo>
                  <a:pt x="4221401" y="3306561"/>
                </a:lnTo>
                <a:lnTo>
                  <a:pt x="4199270" y="3344094"/>
                </a:lnTo>
                <a:lnTo>
                  <a:pt x="4176690" y="3306561"/>
                </a:lnTo>
                <a:close/>
                <a:moveTo>
                  <a:pt x="3815266" y="3306561"/>
                </a:moveTo>
                <a:lnTo>
                  <a:pt x="3815266" y="3363234"/>
                </a:lnTo>
                <a:lnTo>
                  <a:pt x="3857883" y="3363234"/>
                </a:lnTo>
                <a:lnTo>
                  <a:pt x="3857883" y="3354412"/>
                </a:lnTo>
                <a:lnTo>
                  <a:pt x="3825883" y="3354412"/>
                </a:lnTo>
                <a:lnTo>
                  <a:pt x="3825883" y="3338860"/>
                </a:lnTo>
                <a:lnTo>
                  <a:pt x="3853248" y="3338860"/>
                </a:lnTo>
                <a:lnTo>
                  <a:pt x="3853248" y="3330187"/>
                </a:lnTo>
                <a:lnTo>
                  <a:pt x="3825883" y="3330187"/>
                </a:lnTo>
                <a:lnTo>
                  <a:pt x="3825883" y="3315384"/>
                </a:lnTo>
                <a:lnTo>
                  <a:pt x="3856687" y="3315384"/>
                </a:lnTo>
                <a:lnTo>
                  <a:pt x="3856687" y="3306561"/>
                </a:lnTo>
                <a:close/>
                <a:moveTo>
                  <a:pt x="3663344" y="3306561"/>
                </a:moveTo>
                <a:lnTo>
                  <a:pt x="3663344" y="3363384"/>
                </a:lnTo>
                <a:lnTo>
                  <a:pt x="3673810" y="3363384"/>
                </a:lnTo>
                <a:lnTo>
                  <a:pt x="3673810" y="3306561"/>
                </a:lnTo>
                <a:close/>
                <a:moveTo>
                  <a:pt x="3569739" y="3306561"/>
                </a:moveTo>
                <a:lnTo>
                  <a:pt x="3569739" y="3315533"/>
                </a:lnTo>
                <a:lnTo>
                  <a:pt x="3588580" y="3315533"/>
                </a:lnTo>
                <a:lnTo>
                  <a:pt x="3588580" y="3363234"/>
                </a:lnTo>
                <a:lnTo>
                  <a:pt x="3599047" y="3363234"/>
                </a:lnTo>
                <a:lnTo>
                  <a:pt x="3599047" y="3315533"/>
                </a:lnTo>
                <a:lnTo>
                  <a:pt x="3617887" y="3315533"/>
                </a:lnTo>
                <a:lnTo>
                  <a:pt x="3617887" y="3306561"/>
                </a:lnTo>
                <a:close/>
                <a:moveTo>
                  <a:pt x="3389250" y="3306561"/>
                </a:moveTo>
                <a:lnTo>
                  <a:pt x="3389250" y="3363234"/>
                </a:lnTo>
                <a:lnTo>
                  <a:pt x="3431717" y="3363234"/>
                </a:lnTo>
                <a:lnTo>
                  <a:pt x="3431717" y="3354412"/>
                </a:lnTo>
                <a:lnTo>
                  <a:pt x="3399717" y="3354412"/>
                </a:lnTo>
                <a:lnTo>
                  <a:pt x="3399717" y="3338860"/>
                </a:lnTo>
                <a:lnTo>
                  <a:pt x="3427083" y="3338860"/>
                </a:lnTo>
                <a:lnTo>
                  <a:pt x="3427083" y="3330187"/>
                </a:lnTo>
                <a:lnTo>
                  <a:pt x="3399717" y="3330187"/>
                </a:lnTo>
                <a:lnTo>
                  <a:pt x="3399717" y="3315384"/>
                </a:lnTo>
                <a:lnTo>
                  <a:pt x="3430671" y="3315384"/>
                </a:lnTo>
                <a:lnTo>
                  <a:pt x="3430671" y="3306561"/>
                </a:lnTo>
                <a:close/>
                <a:moveTo>
                  <a:pt x="3196053" y="3306561"/>
                </a:moveTo>
                <a:lnTo>
                  <a:pt x="3215941" y="3334374"/>
                </a:lnTo>
                <a:lnTo>
                  <a:pt x="3194857" y="3363234"/>
                </a:lnTo>
                <a:lnTo>
                  <a:pt x="3206820" y="3363234"/>
                </a:lnTo>
                <a:lnTo>
                  <a:pt x="3222073" y="3341702"/>
                </a:lnTo>
                <a:lnTo>
                  <a:pt x="3237474" y="3363234"/>
                </a:lnTo>
                <a:lnTo>
                  <a:pt x="3249736" y="3363234"/>
                </a:lnTo>
                <a:lnTo>
                  <a:pt x="3228351" y="3333926"/>
                </a:lnTo>
                <a:lnTo>
                  <a:pt x="3248240" y="3306561"/>
                </a:lnTo>
                <a:lnTo>
                  <a:pt x="3236727" y="3306561"/>
                </a:lnTo>
                <a:lnTo>
                  <a:pt x="3222521" y="3326748"/>
                </a:lnTo>
                <a:lnTo>
                  <a:pt x="3207866" y="3306561"/>
                </a:lnTo>
                <a:close/>
                <a:moveTo>
                  <a:pt x="3110521" y="3306561"/>
                </a:moveTo>
                <a:lnTo>
                  <a:pt x="3110521" y="3363234"/>
                </a:lnTo>
                <a:lnTo>
                  <a:pt x="3153137" y="3363234"/>
                </a:lnTo>
                <a:lnTo>
                  <a:pt x="3153137" y="3354412"/>
                </a:lnTo>
                <a:lnTo>
                  <a:pt x="3121137" y="3354412"/>
                </a:lnTo>
                <a:lnTo>
                  <a:pt x="3121137" y="3338860"/>
                </a:lnTo>
                <a:lnTo>
                  <a:pt x="3148503" y="3338860"/>
                </a:lnTo>
                <a:lnTo>
                  <a:pt x="3148503" y="3330187"/>
                </a:lnTo>
                <a:lnTo>
                  <a:pt x="3121137" y="3330187"/>
                </a:lnTo>
                <a:lnTo>
                  <a:pt x="3121137" y="3315384"/>
                </a:lnTo>
                <a:lnTo>
                  <a:pt x="3151941" y="3315384"/>
                </a:lnTo>
                <a:lnTo>
                  <a:pt x="3151941" y="3306561"/>
                </a:lnTo>
                <a:close/>
                <a:moveTo>
                  <a:pt x="2971004" y="3306561"/>
                </a:moveTo>
                <a:lnTo>
                  <a:pt x="2971004" y="3363234"/>
                </a:lnTo>
                <a:lnTo>
                  <a:pt x="3011230" y="3363234"/>
                </a:lnTo>
                <a:lnTo>
                  <a:pt x="3011230" y="3354412"/>
                </a:lnTo>
                <a:lnTo>
                  <a:pt x="2981472" y="3354412"/>
                </a:lnTo>
                <a:lnTo>
                  <a:pt x="2981472" y="3306561"/>
                </a:lnTo>
                <a:close/>
                <a:moveTo>
                  <a:pt x="2819228" y="3306561"/>
                </a:moveTo>
                <a:lnTo>
                  <a:pt x="2819228" y="3363234"/>
                </a:lnTo>
                <a:lnTo>
                  <a:pt x="2861844" y="3363234"/>
                </a:lnTo>
                <a:lnTo>
                  <a:pt x="2861844" y="3354412"/>
                </a:lnTo>
                <a:lnTo>
                  <a:pt x="2829695" y="3354412"/>
                </a:lnTo>
                <a:lnTo>
                  <a:pt x="2829695" y="3338860"/>
                </a:lnTo>
                <a:lnTo>
                  <a:pt x="2857060" y="3338860"/>
                </a:lnTo>
                <a:lnTo>
                  <a:pt x="2857060" y="3330187"/>
                </a:lnTo>
                <a:lnTo>
                  <a:pt x="2829695" y="3330187"/>
                </a:lnTo>
                <a:lnTo>
                  <a:pt x="2829695" y="3315384"/>
                </a:lnTo>
                <a:lnTo>
                  <a:pt x="2860649" y="3315384"/>
                </a:lnTo>
                <a:lnTo>
                  <a:pt x="2860649" y="3306561"/>
                </a:lnTo>
                <a:close/>
                <a:moveTo>
                  <a:pt x="2714703" y="3306561"/>
                </a:moveTo>
                <a:lnTo>
                  <a:pt x="2714703" y="3363384"/>
                </a:lnTo>
                <a:lnTo>
                  <a:pt x="2739526" y="3363384"/>
                </a:lnTo>
                <a:cubicBezTo>
                  <a:pt x="2745104" y="3363519"/>
                  <a:pt x="2750636" y="3362338"/>
                  <a:pt x="2755675" y="3359945"/>
                </a:cubicBezTo>
                <a:cubicBezTo>
                  <a:pt x="2760203" y="3357732"/>
                  <a:pt x="2763994" y="3354248"/>
                  <a:pt x="2766591" y="3349926"/>
                </a:cubicBezTo>
                <a:cubicBezTo>
                  <a:pt x="2771934" y="3340670"/>
                  <a:pt x="2771934" y="3329275"/>
                  <a:pt x="2766591" y="3320019"/>
                </a:cubicBezTo>
                <a:cubicBezTo>
                  <a:pt x="2763994" y="3315698"/>
                  <a:pt x="2760203" y="3312214"/>
                  <a:pt x="2755675" y="3310001"/>
                </a:cubicBezTo>
                <a:cubicBezTo>
                  <a:pt x="2750614" y="3307668"/>
                  <a:pt x="2745097" y="3306501"/>
                  <a:pt x="2739526" y="3306561"/>
                </a:cubicBezTo>
                <a:close/>
                <a:moveTo>
                  <a:pt x="3481215" y="3306412"/>
                </a:moveTo>
                <a:lnTo>
                  <a:pt x="3481215" y="3363086"/>
                </a:lnTo>
                <a:lnTo>
                  <a:pt x="3491682" y="3363086"/>
                </a:lnTo>
                <a:lnTo>
                  <a:pt x="3491682" y="3346637"/>
                </a:lnTo>
                <a:lnTo>
                  <a:pt x="3506636" y="3346637"/>
                </a:lnTo>
                <a:lnTo>
                  <a:pt x="3518150" y="3363235"/>
                </a:lnTo>
                <a:lnTo>
                  <a:pt x="3529664" y="3363086"/>
                </a:lnTo>
                <a:lnTo>
                  <a:pt x="3516655" y="3344543"/>
                </a:lnTo>
                <a:cubicBezTo>
                  <a:pt x="3524218" y="3341897"/>
                  <a:pt x="3529148" y="3334599"/>
                  <a:pt x="3528767" y="3326599"/>
                </a:cubicBezTo>
                <a:cubicBezTo>
                  <a:pt x="3529012" y="3318898"/>
                  <a:pt x="3524499" y="3311825"/>
                  <a:pt x="3517402" y="3308805"/>
                </a:cubicBezTo>
                <a:cubicBezTo>
                  <a:pt x="3513336" y="3307100"/>
                  <a:pt x="3508952" y="3306278"/>
                  <a:pt x="3504542" y="3306412"/>
                </a:cubicBezTo>
                <a:close/>
                <a:moveTo>
                  <a:pt x="4088016" y="3305664"/>
                </a:moveTo>
                <a:cubicBezTo>
                  <a:pt x="4082793" y="3305739"/>
                  <a:pt x="4077664" y="3307070"/>
                  <a:pt x="4073063" y="3309552"/>
                </a:cubicBezTo>
                <a:cubicBezTo>
                  <a:pt x="4068508" y="3311944"/>
                  <a:pt x="4064723" y="3315563"/>
                  <a:pt x="4062147" y="3320019"/>
                </a:cubicBezTo>
                <a:cubicBezTo>
                  <a:pt x="4059563" y="3324580"/>
                  <a:pt x="4058223" y="3329739"/>
                  <a:pt x="4058259" y="3334973"/>
                </a:cubicBezTo>
                <a:cubicBezTo>
                  <a:pt x="4058223" y="3340206"/>
                  <a:pt x="4059563" y="3345365"/>
                  <a:pt x="4062147" y="3349926"/>
                </a:cubicBezTo>
                <a:cubicBezTo>
                  <a:pt x="4064828" y="3354293"/>
                  <a:pt x="4068587" y="3357896"/>
                  <a:pt x="4073063" y="3360393"/>
                </a:cubicBezTo>
                <a:lnTo>
                  <a:pt x="4072913" y="3360244"/>
                </a:lnTo>
                <a:cubicBezTo>
                  <a:pt x="4077549" y="3362607"/>
                  <a:pt x="4082663" y="3363893"/>
                  <a:pt x="4087866" y="3363982"/>
                </a:cubicBezTo>
                <a:cubicBezTo>
                  <a:pt x="4093073" y="3363908"/>
                  <a:pt x="4098190" y="3362622"/>
                  <a:pt x="4102820" y="3360244"/>
                </a:cubicBezTo>
                <a:cubicBezTo>
                  <a:pt x="4112206" y="3355279"/>
                  <a:pt x="4117990" y="3345440"/>
                  <a:pt x="4117773" y="3334823"/>
                </a:cubicBezTo>
                <a:cubicBezTo>
                  <a:pt x="4117860" y="3329575"/>
                  <a:pt x="4116516" y="3324416"/>
                  <a:pt x="4113885" y="3319870"/>
                </a:cubicBezTo>
                <a:cubicBezTo>
                  <a:pt x="4111262" y="3315488"/>
                  <a:pt x="4107485" y="3311929"/>
                  <a:pt x="4102969" y="3309552"/>
                </a:cubicBezTo>
                <a:cubicBezTo>
                  <a:pt x="4098376" y="3307055"/>
                  <a:pt x="4093242" y="3305724"/>
                  <a:pt x="4088016" y="3305664"/>
                </a:cubicBezTo>
                <a:close/>
                <a:moveTo>
                  <a:pt x="3746035" y="3305215"/>
                </a:moveTo>
                <a:cubicBezTo>
                  <a:pt x="3741739" y="3305096"/>
                  <a:pt x="3737466" y="3305858"/>
                  <a:pt x="3733475" y="3307458"/>
                </a:cubicBezTo>
                <a:cubicBezTo>
                  <a:pt x="3730364" y="3308744"/>
                  <a:pt x="3727672" y="3310868"/>
                  <a:pt x="3725701" y="3313589"/>
                </a:cubicBezTo>
                <a:cubicBezTo>
                  <a:pt x="3724008" y="3316101"/>
                  <a:pt x="3723123" y="3319077"/>
                  <a:pt x="3723159" y="3322113"/>
                </a:cubicBezTo>
                <a:cubicBezTo>
                  <a:pt x="3722946" y="3325313"/>
                  <a:pt x="3723963" y="3328468"/>
                  <a:pt x="3726000" y="3330935"/>
                </a:cubicBezTo>
                <a:cubicBezTo>
                  <a:pt x="3727840" y="3333103"/>
                  <a:pt x="3730209" y="3334748"/>
                  <a:pt x="3732878" y="3335720"/>
                </a:cubicBezTo>
                <a:cubicBezTo>
                  <a:pt x="3736346" y="3336991"/>
                  <a:pt x="3739893" y="3338038"/>
                  <a:pt x="3743494" y="3338860"/>
                </a:cubicBezTo>
                <a:lnTo>
                  <a:pt x="3750671" y="3340954"/>
                </a:lnTo>
                <a:cubicBezTo>
                  <a:pt x="3752311" y="3341447"/>
                  <a:pt x="3753835" y="3342255"/>
                  <a:pt x="3755157" y="3343346"/>
                </a:cubicBezTo>
                <a:cubicBezTo>
                  <a:pt x="3756339" y="3344348"/>
                  <a:pt x="3756998" y="3345829"/>
                  <a:pt x="3756951" y="3347384"/>
                </a:cubicBezTo>
                <a:cubicBezTo>
                  <a:pt x="3756962" y="3349612"/>
                  <a:pt x="3755759" y="3351675"/>
                  <a:pt x="3753810" y="3352767"/>
                </a:cubicBezTo>
                <a:cubicBezTo>
                  <a:pt x="3750911" y="3354277"/>
                  <a:pt x="3747650" y="3354950"/>
                  <a:pt x="3744390" y="3354711"/>
                </a:cubicBezTo>
                <a:cubicBezTo>
                  <a:pt x="3740932" y="3354756"/>
                  <a:pt x="3737492" y="3354203"/>
                  <a:pt x="3734223" y="3353066"/>
                </a:cubicBezTo>
                <a:cubicBezTo>
                  <a:pt x="3731119" y="3352034"/>
                  <a:pt x="3728192" y="3350509"/>
                  <a:pt x="3725552" y="3348580"/>
                </a:cubicBezTo>
                <a:lnTo>
                  <a:pt x="3721962" y="3356655"/>
                </a:lnTo>
                <a:cubicBezTo>
                  <a:pt x="3724794" y="3359003"/>
                  <a:pt x="3728114" y="3360692"/>
                  <a:pt x="3731681" y="3361590"/>
                </a:cubicBezTo>
                <a:lnTo>
                  <a:pt x="3732129" y="3361889"/>
                </a:lnTo>
                <a:cubicBezTo>
                  <a:pt x="3736233" y="3363219"/>
                  <a:pt x="3740526" y="3363877"/>
                  <a:pt x="3744840" y="3363833"/>
                </a:cubicBezTo>
                <a:cubicBezTo>
                  <a:pt x="3749136" y="3363952"/>
                  <a:pt x="3753410" y="3363190"/>
                  <a:pt x="3757399" y="3361590"/>
                </a:cubicBezTo>
                <a:cubicBezTo>
                  <a:pt x="3760411" y="3360199"/>
                  <a:pt x="3762954" y="3357971"/>
                  <a:pt x="3764725" y="3355160"/>
                </a:cubicBezTo>
                <a:cubicBezTo>
                  <a:pt x="3766418" y="3352647"/>
                  <a:pt x="3767304" y="3349672"/>
                  <a:pt x="3767269" y="3346636"/>
                </a:cubicBezTo>
                <a:cubicBezTo>
                  <a:pt x="3767456" y="3343496"/>
                  <a:pt x="3766440" y="3340386"/>
                  <a:pt x="3764427" y="3337963"/>
                </a:cubicBezTo>
                <a:cubicBezTo>
                  <a:pt x="3762526" y="3335765"/>
                  <a:pt x="3760111" y="3334075"/>
                  <a:pt x="3757399" y="3333028"/>
                </a:cubicBezTo>
                <a:cubicBezTo>
                  <a:pt x="3754045" y="3331757"/>
                  <a:pt x="3750594" y="3330756"/>
                  <a:pt x="3747082" y="3330038"/>
                </a:cubicBezTo>
                <a:lnTo>
                  <a:pt x="3739757" y="3327944"/>
                </a:lnTo>
                <a:cubicBezTo>
                  <a:pt x="3738147" y="3327496"/>
                  <a:pt x="3736662" y="3326673"/>
                  <a:pt x="3735420" y="3325552"/>
                </a:cubicBezTo>
                <a:cubicBezTo>
                  <a:pt x="3734279" y="3324580"/>
                  <a:pt x="3733623" y="3323159"/>
                  <a:pt x="3733626" y="3321664"/>
                </a:cubicBezTo>
                <a:cubicBezTo>
                  <a:pt x="3733623" y="3319391"/>
                  <a:pt x="3734743" y="3317268"/>
                  <a:pt x="3736615" y="3315982"/>
                </a:cubicBezTo>
                <a:cubicBezTo>
                  <a:pt x="3739451" y="3314441"/>
                  <a:pt x="3742661" y="3313709"/>
                  <a:pt x="3745886" y="3313888"/>
                </a:cubicBezTo>
                <a:cubicBezTo>
                  <a:pt x="3748570" y="3313933"/>
                  <a:pt x="3751235" y="3314337"/>
                  <a:pt x="3753810" y="3315084"/>
                </a:cubicBezTo>
                <a:cubicBezTo>
                  <a:pt x="3756536" y="3315832"/>
                  <a:pt x="3759150" y="3316939"/>
                  <a:pt x="3761586" y="3318374"/>
                </a:cubicBezTo>
                <a:lnTo>
                  <a:pt x="3764875" y="3310150"/>
                </a:lnTo>
                <a:cubicBezTo>
                  <a:pt x="3762225" y="3308400"/>
                  <a:pt x="3759291" y="3307144"/>
                  <a:pt x="3756204" y="3306411"/>
                </a:cubicBezTo>
                <a:cubicBezTo>
                  <a:pt x="3752869" y="3305634"/>
                  <a:pt x="3749458" y="3305230"/>
                  <a:pt x="3746035" y="3305215"/>
                </a:cubicBezTo>
                <a:close/>
                <a:moveTo>
                  <a:pt x="3056089" y="3302524"/>
                </a:moveTo>
                <a:cubicBezTo>
                  <a:pt x="3054302" y="3302524"/>
                  <a:pt x="3052586" y="3303227"/>
                  <a:pt x="3051304" y="3304468"/>
                </a:cubicBezTo>
                <a:cubicBezTo>
                  <a:pt x="3050085" y="3305754"/>
                  <a:pt x="3049439" y="3307489"/>
                  <a:pt x="3049510" y="3309253"/>
                </a:cubicBezTo>
                <a:cubicBezTo>
                  <a:pt x="3049444" y="3310584"/>
                  <a:pt x="3049813" y="3311885"/>
                  <a:pt x="3050556" y="3312991"/>
                </a:cubicBezTo>
                <a:cubicBezTo>
                  <a:pt x="3051159" y="3314038"/>
                  <a:pt x="3052113" y="3314831"/>
                  <a:pt x="3053248" y="3315234"/>
                </a:cubicBezTo>
                <a:lnTo>
                  <a:pt x="3050109" y="3327646"/>
                </a:lnTo>
                <a:lnTo>
                  <a:pt x="3056688" y="3327646"/>
                </a:lnTo>
                <a:lnTo>
                  <a:pt x="3060875" y="3316281"/>
                </a:lnTo>
                <a:cubicBezTo>
                  <a:pt x="3061472" y="3314337"/>
                  <a:pt x="3062220" y="3312991"/>
                  <a:pt x="3062220" y="3312094"/>
                </a:cubicBezTo>
                <a:cubicBezTo>
                  <a:pt x="3062364" y="3311152"/>
                  <a:pt x="3062364" y="3310195"/>
                  <a:pt x="3062220" y="3309253"/>
                </a:cubicBezTo>
                <a:cubicBezTo>
                  <a:pt x="3062251" y="3307459"/>
                  <a:pt x="3061548" y="3305724"/>
                  <a:pt x="3060277" y="3304468"/>
                </a:cubicBezTo>
                <a:lnTo>
                  <a:pt x="3060725" y="3304468"/>
                </a:lnTo>
                <a:cubicBezTo>
                  <a:pt x="3059498" y="3303227"/>
                  <a:pt x="3057831" y="3302539"/>
                  <a:pt x="3056089" y="3302524"/>
                </a:cubicBezTo>
                <a:close/>
                <a:moveTo>
                  <a:pt x="2832389" y="3241364"/>
                </a:moveTo>
                <a:lnTo>
                  <a:pt x="2850034" y="3241364"/>
                </a:lnTo>
                <a:cubicBezTo>
                  <a:pt x="2858259" y="3241364"/>
                  <a:pt x="2862296" y="3244056"/>
                  <a:pt x="2862296" y="3249589"/>
                </a:cubicBezTo>
                <a:lnTo>
                  <a:pt x="2861698" y="3249589"/>
                </a:lnTo>
                <a:cubicBezTo>
                  <a:pt x="2861698" y="3254972"/>
                  <a:pt x="2857661" y="3257813"/>
                  <a:pt x="2849436" y="3257813"/>
                </a:cubicBezTo>
                <a:lnTo>
                  <a:pt x="2832389" y="3257813"/>
                </a:lnTo>
                <a:close/>
                <a:moveTo>
                  <a:pt x="3498863" y="3220280"/>
                </a:moveTo>
                <a:cubicBezTo>
                  <a:pt x="3505222" y="3216904"/>
                  <a:pt x="3512841" y="3216904"/>
                  <a:pt x="3519200" y="3220280"/>
                </a:cubicBezTo>
                <a:cubicBezTo>
                  <a:pt x="3522218" y="3221952"/>
                  <a:pt x="3524705" y="3224439"/>
                  <a:pt x="3526377" y="3227458"/>
                </a:cubicBezTo>
                <a:cubicBezTo>
                  <a:pt x="3528072" y="3230577"/>
                  <a:pt x="3528948" y="3234076"/>
                  <a:pt x="3528918" y="3237626"/>
                </a:cubicBezTo>
                <a:cubicBezTo>
                  <a:pt x="3528948" y="3241224"/>
                  <a:pt x="3528072" y="3244771"/>
                  <a:pt x="3526377" y="3247944"/>
                </a:cubicBezTo>
                <a:cubicBezTo>
                  <a:pt x="3524658" y="3250888"/>
                  <a:pt x="3522180" y="3253317"/>
                  <a:pt x="3519200" y="3254972"/>
                </a:cubicBezTo>
                <a:cubicBezTo>
                  <a:pt x="3512847" y="3258376"/>
                  <a:pt x="3505215" y="3258376"/>
                  <a:pt x="3498863" y="3254972"/>
                </a:cubicBezTo>
                <a:cubicBezTo>
                  <a:pt x="3495824" y="3253396"/>
                  <a:pt x="3493326" y="3250950"/>
                  <a:pt x="3491685" y="3247944"/>
                </a:cubicBezTo>
                <a:cubicBezTo>
                  <a:pt x="3489918" y="3244799"/>
                  <a:pt x="3489039" y="3241233"/>
                  <a:pt x="3489142" y="3237626"/>
                </a:cubicBezTo>
                <a:cubicBezTo>
                  <a:pt x="3489043" y="3234067"/>
                  <a:pt x="3489922" y="3230550"/>
                  <a:pt x="3491685" y="3227458"/>
                </a:cubicBezTo>
                <a:cubicBezTo>
                  <a:pt x="3493269" y="3224374"/>
                  <a:pt x="3495780" y="3221864"/>
                  <a:pt x="3498863" y="3220280"/>
                </a:cubicBezTo>
                <a:close/>
                <a:moveTo>
                  <a:pt x="3321364" y="3219831"/>
                </a:moveTo>
                <a:lnTo>
                  <a:pt x="3332131" y="3244654"/>
                </a:lnTo>
                <a:lnTo>
                  <a:pt x="3310748" y="3244654"/>
                </a:lnTo>
                <a:close/>
                <a:moveTo>
                  <a:pt x="4717705" y="3218187"/>
                </a:moveTo>
                <a:lnTo>
                  <a:pt x="4730116" y="3218187"/>
                </a:lnTo>
                <a:cubicBezTo>
                  <a:pt x="4733840" y="3217967"/>
                  <a:pt x="4737533" y="3219021"/>
                  <a:pt x="4740584" y="3221178"/>
                </a:cubicBezTo>
                <a:lnTo>
                  <a:pt x="4739836" y="3221178"/>
                </a:lnTo>
                <a:cubicBezTo>
                  <a:pt x="4742288" y="3223186"/>
                  <a:pt x="4743619" y="3226244"/>
                  <a:pt x="4743425" y="3229402"/>
                </a:cubicBezTo>
                <a:cubicBezTo>
                  <a:pt x="4743634" y="3232608"/>
                  <a:pt x="4742303" y="3235721"/>
                  <a:pt x="4739836" y="3237776"/>
                </a:cubicBezTo>
                <a:cubicBezTo>
                  <a:pt x="4736845" y="3240052"/>
                  <a:pt x="4733107" y="3241119"/>
                  <a:pt x="4729369" y="3240766"/>
                </a:cubicBezTo>
                <a:lnTo>
                  <a:pt x="4717705" y="3240766"/>
                </a:lnTo>
                <a:close/>
                <a:moveTo>
                  <a:pt x="3664990" y="3218187"/>
                </a:moveTo>
                <a:lnTo>
                  <a:pt x="3677251" y="3218187"/>
                </a:lnTo>
                <a:cubicBezTo>
                  <a:pt x="3680981" y="3217942"/>
                  <a:pt x="3684680" y="3218999"/>
                  <a:pt x="3687718" y="3221177"/>
                </a:cubicBezTo>
                <a:cubicBezTo>
                  <a:pt x="3690163" y="3223186"/>
                  <a:pt x="3691498" y="3226244"/>
                  <a:pt x="3691308" y="3229402"/>
                </a:cubicBezTo>
                <a:cubicBezTo>
                  <a:pt x="3691523" y="3232608"/>
                  <a:pt x="3690188" y="3235721"/>
                  <a:pt x="3687718" y="3237776"/>
                </a:cubicBezTo>
                <a:cubicBezTo>
                  <a:pt x="3684729" y="3240052"/>
                  <a:pt x="3680993" y="3241119"/>
                  <a:pt x="3677251" y="3240766"/>
                </a:cubicBezTo>
                <a:lnTo>
                  <a:pt x="3664990" y="3240766"/>
                </a:lnTo>
                <a:close/>
                <a:moveTo>
                  <a:pt x="3116203" y="3218187"/>
                </a:moveTo>
                <a:lnTo>
                  <a:pt x="3128467" y="3218187"/>
                </a:lnTo>
                <a:cubicBezTo>
                  <a:pt x="3132196" y="3217942"/>
                  <a:pt x="3135896" y="3218999"/>
                  <a:pt x="3138934" y="3221178"/>
                </a:cubicBezTo>
                <a:cubicBezTo>
                  <a:pt x="3141379" y="3223186"/>
                  <a:pt x="3142713" y="3226244"/>
                  <a:pt x="3142523" y="3229402"/>
                </a:cubicBezTo>
                <a:cubicBezTo>
                  <a:pt x="3142738" y="3232608"/>
                  <a:pt x="3141403" y="3235721"/>
                  <a:pt x="3138934" y="3237776"/>
                </a:cubicBezTo>
                <a:cubicBezTo>
                  <a:pt x="3135945" y="3240052"/>
                  <a:pt x="3132208" y="3241119"/>
                  <a:pt x="3128467" y="3240766"/>
                </a:cubicBezTo>
                <a:lnTo>
                  <a:pt x="3116203" y="3240766"/>
                </a:lnTo>
                <a:close/>
                <a:moveTo>
                  <a:pt x="3917697" y="3218037"/>
                </a:moveTo>
                <a:lnTo>
                  <a:pt x="3931455" y="3218037"/>
                </a:lnTo>
                <a:cubicBezTo>
                  <a:pt x="3935235" y="3217926"/>
                  <a:pt x="3938984" y="3218747"/>
                  <a:pt x="3942371" y="3220430"/>
                </a:cubicBezTo>
                <a:cubicBezTo>
                  <a:pt x="3945444" y="3221941"/>
                  <a:pt x="3947995" y="3224337"/>
                  <a:pt x="3949698" y="3227308"/>
                </a:cubicBezTo>
                <a:cubicBezTo>
                  <a:pt x="3951432" y="3230413"/>
                  <a:pt x="3952310" y="3233922"/>
                  <a:pt x="3952240" y="3237476"/>
                </a:cubicBezTo>
                <a:cubicBezTo>
                  <a:pt x="3952288" y="3241076"/>
                  <a:pt x="3951411" y="3244629"/>
                  <a:pt x="3949698" y="3247794"/>
                </a:cubicBezTo>
                <a:cubicBezTo>
                  <a:pt x="3948032" y="3250758"/>
                  <a:pt x="3945466" y="3253116"/>
                  <a:pt x="3942371" y="3254523"/>
                </a:cubicBezTo>
                <a:cubicBezTo>
                  <a:pt x="3938984" y="3256206"/>
                  <a:pt x="3935235" y="3257027"/>
                  <a:pt x="3931455" y="3256916"/>
                </a:cubicBezTo>
                <a:lnTo>
                  <a:pt x="3917697" y="3256916"/>
                </a:lnTo>
                <a:close/>
                <a:moveTo>
                  <a:pt x="2740575" y="3217738"/>
                </a:moveTo>
                <a:cubicBezTo>
                  <a:pt x="2744339" y="3217383"/>
                  <a:pt x="2748125" y="3218110"/>
                  <a:pt x="2751491" y="3219831"/>
                </a:cubicBezTo>
                <a:cubicBezTo>
                  <a:pt x="2754496" y="3221472"/>
                  <a:pt x="2756943" y="3223970"/>
                  <a:pt x="2758519" y="3227009"/>
                </a:cubicBezTo>
                <a:cubicBezTo>
                  <a:pt x="2760388" y="3230173"/>
                  <a:pt x="2761321" y="3233802"/>
                  <a:pt x="2761211" y="3237476"/>
                </a:cubicBezTo>
                <a:cubicBezTo>
                  <a:pt x="2761262" y="3241095"/>
                  <a:pt x="2760332" y="3244661"/>
                  <a:pt x="2758519" y="3247794"/>
                </a:cubicBezTo>
                <a:cubicBezTo>
                  <a:pt x="2756898" y="3250762"/>
                  <a:pt x="2754459" y="3253201"/>
                  <a:pt x="2751491" y="3254822"/>
                </a:cubicBezTo>
                <a:lnTo>
                  <a:pt x="2750893" y="3254374"/>
                </a:lnTo>
                <a:cubicBezTo>
                  <a:pt x="2747748" y="3256141"/>
                  <a:pt x="2744181" y="3257020"/>
                  <a:pt x="2740575" y="3256916"/>
                </a:cubicBezTo>
                <a:cubicBezTo>
                  <a:pt x="2737232" y="3256955"/>
                  <a:pt x="2733936" y="3256131"/>
                  <a:pt x="2731005" y="3254523"/>
                </a:cubicBezTo>
                <a:cubicBezTo>
                  <a:pt x="2728025" y="3252868"/>
                  <a:pt x="2725546" y="3250439"/>
                  <a:pt x="2723827" y="3247495"/>
                </a:cubicBezTo>
                <a:cubicBezTo>
                  <a:pt x="2722131" y="3244322"/>
                  <a:pt x="2721257" y="3240775"/>
                  <a:pt x="2721285" y="3237177"/>
                </a:cubicBezTo>
                <a:cubicBezTo>
                  <a:pt x="2721257" y="3233627"/>
                  <a:pt x="2722131" y="3230128"/>
                  <a:pt x="2723827" y="3227009"/>
                </a:cubicBezTo>
                <a:cubicBezTo>
                  <a:pt x="2725400" y="3224233"/>
                  <a:pt x="2727667" y="3221914"/>
                  <a:pt x="2730407" y="3220280"/>
                </a:cubicBezTo>
                <a:cubicBezTo>
                  <a:pt x="2733500" y="3218517"/>
                  <a:pt x="2737017" y="3217637"/>
                  <a:pt x="2740575" y="3217738"/>
                </a:cubicBezTo>
                <a:close/>
                <a:moveTo>
                  <a:pt x="2847343" y="3216990"/>
                </a:moveTo>
                <a:cubicBezTo>
                  <a:pt x="2850314" y="3216775"/>
                  <a:pt x="2853282" y="3217452"/>
                  <a:pt x="2855866" y="3218934"/>
                </a:cubicBezTo>
                <a:cubicBezTo>
                  <a:pt x="2856501" y="3219390"/>
                  <a:pt x="2857058" y="3219947"/>
                  <a:pt x="2857514" y="3220582"/>
                </a:cubicBezTo>
                <a:cubicBezTo>
                  <a:pt x="2859825" y="3223803"/>
                  <a:pt x="2859087" y="3228288"/>
                  <a:pt x="2855866" y="3230598"/>
                </a:cubicBezTo>
                <a:cubicBezTo>
                  <a:pt x="2853282" y="3232080"/>
                  <a:pt x="2850314" y="3232757"/>
                  <a:pt x="2847343" y="3232542"/>
                </a:cubicBezTo>
                <a:lnTo>
                  <a:pt x="2832389" y="3232542"/>
                </a:lnTo>
                <a:lnTo>
                  <a:pt x="2832389" y="3217588"/>
                </a:lnTo>
                <a:close/>
                <a:moveTo>
                  <a:pt x="2821922" y="3209514"/>
                </a:moveTo>
                <a:lnTo>
                  <a:pt x="2821922" y="3266337"/>
                </a:lnTo>
                <a:lnTo>
                  <a:pt x="2850184" y="3266337"/>
                </a:lnTo>
                <a:cubicBezTo>
                  <a:pt x="2855951" y="3266713"/>
                  <a:pt x="2861695" y="3265303"/>
                  <a:pt x="2866633" y="3262299"/>
                </a:cubicBezTo>
                <a:cubicBezTo>
                  <a:pt x="2870352" y="3259738"/>
                  <a:pt x="2872496" y="3255448"/>
                  <a:pt x="2872315" y="3250935"/>
                </a:cubicBezTo>
                <a:cubicBezTo>
                  <a:pt x="2872402" y="3247733"/>
                  <a:pt x="2871458" y="3244588"/>
                  <a:pt x="2869623" y="3241963"/>
                </a:cubicBezTo>
                <a:lnTo>
                  <a:pt x="2869175" y="3241963"/>
                </a:lnTo>
                <a:cubicBezTo>
                  <a:pt x="2867267" y="3239537"/>
                  <a:pt x="2864656" y="3237761"/>
                  <a:pt x="2861698" y="3236878"/>
                </a:cubicBezTo>
                <a:cubicBezTo>
                  <a:pt x="2863890" y="3235661"/>
                  <a:pt x="2865741" y="3233913"/>
                  <a:pt x="2867081" y="3231794"/>
                </a:cubicBezTo>
                <a:cubicBezTo>
                  <a:pt x="2868373" y="3229515"/>
                  <a:pt x="2869043" y="3226937"/>
                  <a:pt x="2869025" y="3224317"/>
                </a:cubicBezTo>
                <a:cubicBezTo>
                  <a:pt x="2869118" y="3220024"/>
                  <a:pt x="2867036" y="3215975"/>
                  <a:pt x="2863492" y="3213551"/>
                </a:cubicBezTo>
                <a:cubicBezTo>
                  <a:pt x="2859045" y="3210692"/>
                  <a:pt x="2853821" y="3209282"/>
                  <a:pt x="2848539" y="3209514"/>
                </a:cubicBezTo>
                <a:close/>
                <a:moveTo>
                  <a:pt x="3316279" y="3209364"/>
                </a:moveTo>
                <a:lnTo>
                  <a:pt x="3290711" y="3266037"/>
                </a:lnTo>
                <a:lnTo>
                  <a:pt x="3301626" y="3266037"/>
                </a:lnTo>
                <a:lnTo>
                  <a:pt x="3307308" y="3252879"/>
                </a:lnTo>
                <a:lnTo>
                  <a:pt x="3335570" y="3252879"/>
                </a:lnTo>
                <a:lnTo>
                  <a:pt x="3341251" y="3266037"/>
                </a:lnTo>
                <a:lnTo>
                  <a:pt x="3352317" y="3266037"/>
                </a:lnTo>
                <a:lnTo>
                  <a:pt x="3326747" y="3209364"/>
                </a:lnTo>
                <a:close/>
                <a:moveTo>
                  <a:pt x="4707387" y="3209215"/>
                </a:moveTo>
                <a:lnTo>
                  <a:pt x="4707387" y="3266038"/>
                </a:lnTo>
                <a:lnTo>
                  <a:pt x="4717854" y="3266038"/>
                </a:lnTo>
                <a:lnTo>
                  <a:pt x="4717854" y="3249439"/>
                </a:lnTo>
                <a:lnTo>
                  <a:pt x="4732808" y="3249439"/>
                </a:lnTo>
                <a:lnTo>
                  <a:pt x="4744322" y="3266038"/>
                </a:lnTo>
                <a:lnTo>
                  <a:pt x="4755836" y="3266038"/>
                </a:lnTo>
                <a:lnTo>
                  <a:pt x="4742827" y="3247346"/>
                </a:lnTo>
                <a:cubicBezTo>
                  <a:pt x="4746475" y="3246062"/>
                  <a:pt x="4749616" y="3243652"/>
                  <a:pt x="4751799" y="3240467"/>
                </a:cubicBezTo>
                <a:cubicBezTo>
                  <a:pt x="4753967" y="3237193"/>
                  <a:pt x="4755059" y="3233326"/>
                  <a:pt x="4754939" y="3229402"/>
                </a:cubicBezTo>
                <a:cubicBezTo>
                  <a:pt x="4754984" y="3225602"/>
                  <a:pt x="4753952" y="3221868"/>
                  <a:pt x="4751948" y="3218635"/>
                </a:cubicBezTo>
                <a:cubicBezTo>
                  <a:pt x="4749885" y="3215583"/>
                  <a:pt x="4746969" y="3213195"/>
                  <a:pt x="4743574" y="3211757"/>
                </a:cubicBezTo>
                <a:cubicBezTo>
                  <a:pt x="4739522" y="3209997"/>
                  <a:pt x="4735141" y="3209130"/>
                  <a:pt x="4730714" y="3209215"/>
                </a:cubicBezTo>
                <a:close/>
                <a:moveTo>
                  <a:pt x="4613629" y="3209215"/>
                </a:moveTo>
                <a:lnTo>
                  <a:pt x="4613629" y="3266038"/>
                </a:lnTo>
                <a:lnTo>
                  <a:pt x="4656246" y="3266038"/>
                </a:lnTo>
                <a:lnTo>
                  <a:pt x="4656246" y="3257215"/>
                </a:lnTo>
                <a:lnTo>
                  <a:pt x="4624246" y="3257215"/>
                </a:lnTo>
                <a:lnTo>
                  <a:pt x="4624246" y="3241514"/>
                </a:lnTo>
                <a:lnTo>
                  <a:pt x="4651611" y="3241514"/>
                </a:lnTo>
                <a:lnTo>
                  <a:pt x="4651611" y="3232841"/>
                </a:lnTo>
                <a:lnTo>
                  <a:pt x="4624246" y="3232841"/>
                </a:lnTo>
                <a:lnTo>
                  <a:pt x="4624246" y="3218187"/>
                </a:lnTo>
                <a:lnTo>
                  <a:pt x="4655050" y="3218187"/>
                </a:lnTo>
                <a:lnTo>
                  <a:pt x="4655050" y="3209215"/>
                </a:lnTo>
                <a:close/>
                <a:moveTo>
                  <a:pt x="4548881" y="3209215"/>
                </a:moveTo>
                <a:lnTo>
                  <a:pt x="4548881" y="3266038"/>
                </a:lnTo>
                <a:lnTo>
                  <a:pt x="4559348" y="3266038"/>
                </a:lnTo>
                <a:lnTo>
                  <a:pt x="4559348" y="3209215"/>
                </a:lnTo>
                <a:close/>
                <a:moveTo>
                  <a:pt x="4453926" y="3209215"/>
                </a:moveTo>
                <a:lnTo>
                  <a:pt x="4453926" y="3218187"/>
                </a:lnTo>
                <a:lnTo>
                  <a:pt x="4472767" y="3218187"/>
                </a:lnTo>
                <a:lnTo>
                  <a:pt x="4472767" y="3266038"/>
                </a:lnTo>
                <a:lnTo>
                  <a:pt x="4483235" y="3266038"/>
                </a:lnTo>
                <a:lnTo>
                  <a:pt x="4483235" y="3218187"/>
                </a:lnTo>
                <a:lnTo>
                  <a:pt x="4502076" y="3218187"/>
                </a:lnTo>
                <a:lnTo>
                  <a:pt x="4502076" y="3209215"/>
                </a:lnTo>
                <a:close/>
                <a:moveTo>
                  <a:pt x="4251607" y="3209215"/>
                </a:moveTo>
                <a:lnTo>
                  <a:pt x="4251607" y="3266038"/>
                </a:lnTo>
                <a:lnTo>
                  <a:pt x="4261626" y="3266038"/>
                </a:lnTo>
                <a:lnTo>
                  <a:pt x="4261626" y="3228954"/>
                </a:lnTo>
                <a:lnTo>
                  <a:pt x="4280318" y="3259608"/>
                </a:lnTo>
                <a:lnTo>
                  <a:pt x="4285103" y="3259608"/>
                </a:lnTo>
                <a:lnTo>
                  <a:pt x="4303645" y="3228355"/>
                </a:lnTo>
                <a:lnTo>
                  <a:pt x="4303794" y="3266038"/>
                </a:lnTo>
                <a:lnTo>
                  <a:pt x="4313664" y="3266038"/>
                </a:lnTo>
                <a:lnTo>
                  <a:pt x="4313664" y="3209215"/>
                </a:lnTo>
                <a:lnTo>
                  <a:pt x="4304991" y="3209215"/>
                </a:lnTo>
                <a:lnTo>
                  <a:pt x="4282860" y="3246898"/>
                </a:lnTo>
                <a:lnTo>
                  <a:pt x="4260280" y="3209215"/>
                </a:lnTo>
                <a:close/>
                <a:moveTo>
                  <a:pt x="4012950" y="3209215"/>
                </a:moveTo>
                <a:lnTo>
                  <a:pt x="4012950" y="3266038"/>
                </a:lnTo>
                <a:lnTo>
                  <a:pt x="4055567" y="3266038"/>
                </a:lnTo>
                <a:lnTo>
                  <a:pt x="4055567" y="3257215"/>
                </a:lnTo>
                <a:lnTo>
                  <a:pt x="4023567" y="3257215"/>
                </a:lnTo>
                <a:lnTo>
                  <a:pt x="4023567" y="3241514"/>
                </a:lnTo>
                <a:lnTo>
                  <a:pt x="4050932" y="3241514"/>
                </a:lnTo>
                <a:lnTo>
                  <a:pt x="4050932" y="3232841"/>
                </a:lnTo>
                <a:lnTo>
                  <a:pt x="4023567" y="3232841"/>
                </a:lnTo>
                <a:lnTo>
                  <a:pt x="4023567" y="3218187"/>
                </a:lnTo>
                <a:lnTo>
                  <a:pt x="4054371" y="3218187"/>
                </a:lnTo>
                <a:lnTo>
                  <a:pt x="4054371" y="3209215"/>
                </a:lnTo>
                <a:close/>
                <a:moveTo>
                  <a:pt x="3906931" y="3209215"/>
                </a:moveTo>
                <a:lnTo>
                  <a:pt x="3906931" y="3266187"/>
                </a:lnTo>
                <a:lnTo>
                  <a:pt x="3931754" y="3266187"/>
                </a:lnTo>
                <a:cubicBezTo>
                  <a:pt x="3937348" y="3266311"/>
                  <a:pt x="3942888" y="3265079"/>
                  <a:pt x="3947903" y="3262598"/>
                </a:cubicBezTo>
                <a:cubicBezTo>
                  <a:pt x="3952421" y="3260435"/>
                  <a:pt x="3956213" y="3257006"/>
                  <a:pt x="3958819" y="3252729"/>
                </a:cubicBezTo>
                <a:cubicBezTo>
                  <a:pt x="3961451" y="3248191"/>
                  <a:pt x="3962794" y="3243021"/>
                  <a:pt x="3962707" y="3237776"/>
                </a:cubicBezTo>
                <a:cubicBezTo>
                  <a:pt x="3962818" y="3232527"/>
                  <a:pt x="3961472" y="3227352"/>
                  <a:pt x="3958819" y="3222822"/>
                </a:cubicBezTo>
                <a:cubicBezTo>
                  <a:pt x="3956222" y="3218501"/>
                  <a:pt x="3952431" y="3215021"/>
                  <a:pt x="3947903" y="3212803"/>
                </a:cubicBezTo>
                <a:cubicBezTo>
                  <a:pt x="3942888" y="3210323"/>
                  <a:pt x="3937348" y="3209090"/>
                  <a:pt x="3931754" y="3209215"/>
                </a:cubicBezTo>
                <a:close/>
                <a:moveTo>
                  <a:pt x="3752615" y="3209215"/>
                </a:moveTo>
                <a:lnTo>
                  <a:pt x="3752615" y="3266038"/>
                </a:lnTo>
                <a:lnTo>
                  <a:pt x="3795228" y="3266038"/>
                </a:lnTo>
                <a:lnTo>
                  <a:pt x="3795228" y="3257215"/>
                </a:lnTo>
                <a:lnTo>
                  <a:pt x="3763231" y="3257215"/>
                </a:lnTo>
                <a:lnTo>
                  <a:pt x="3763231" y="3241514"/>
                </a:lnTo>
                <a:lnTo>
                  <a:pt x="3790593" y="3241514"/>
                </a:lnTo>
                <a:lnTo>
                  <a:pt x="3790593" y="3232841"/>
                </a:lnTo>
                <a:lnTo>
                  <a:pt x="3763231" y="3232841"/>
                </a:lnTo>
                <a:lnTo>
                  <a:pt x="3763231" y="3218187"/>
                </a:lnTo>
                <a:lnTo>
                  <a:pt x="3794032" y="3218187"/>
                </a:lnTo>
                <a:lnTo>
                  <a:pt x="3794032" y="3209215"/>
                </a:lnTo>
                <a:close/>
                <a:moveTo>
                  <a:pt x="3654374" y="3209215"/>
                </a:moveTo>
                <a:lnTo>
                  <a:pt x="3654374" y="3266038"/>
                </a:lnTo>
                <a:lnTo>
                  <a:pt x="3664990" y="3266038"/>
                </a:lnTo>
                <a:lnTo>
                  <a:pt x="3664990" y="3249439"/>
                </a:lnTo>
                <a:lnTo>
                  <a:pt x="3679943" y="3249439"/>
                </a:lnTo>
                <a:lnTo>
                  <a:pt x="3691606" y="3266038"/>
                </a:lnTo>
                <a:lnTo>
                  <a:pt x="3702972" y="3266038"/>
                </a:lnTo>
                <a:lnTo>
                  <a:pt x="3689812" y="3247346"/>
                </a:lnTo>
                <a:cubicBezTo>
                  <a:pt x="3693456" y="3246061"/>
                  <a:pt x="3696598" y="3243652"/>
                  <a:pt x="3698783" y="3240467"/>
                </a:cubicBezTo>
                <a:cubicBezTo>
                  <a:pt x="3700949" y="3237193"/>
                  <a:pt x="3702048" y="3233326"/>
                  <a:pt x="3701925" y="3229402"/>
                </a:cubicBezTo>
                <a:cubicBezTo>
                  <a:pt x="3702014" y="3225617"/>
                  <a:pt x="3701029" y="3221883"/>
                  <a:pt x="3699084" y="3218635"/>
                </a:cubicBezTo>
                <a:cubicBezTo>
                  <a:pt x="3696986" y="3215549"/>
                  <a:pt x="3694020" y="3213155"/>
                  <a:pt x="3690559" y="3211757"/>
                </a:cubicBezTo>
                <a:cubicBezTo>
                  <a:pt x="3686559" y="3209991"/>
                  <a:pt x="3682222" y="3209122"/>
                  <a:pt x="3677850" y="3209215"/>
                </a:cubicBezTo>
                <a:close/>
                <a:moveTo>
                  <a:pt x="3589629" y="3209215"/>
                </a:moveTo>
                <a:lnTo>
                  <a:pt x="3589629" y="3266038"/>
                </a:lnTo>
                <a:lnTo>
                  <a:pt x="3600096" y="3266038"/>
                </a:lnTo>
                <a:lnTo>
                  <a:pt x="3600096" y="3209215"/>
                </a:lnTo>
                <a:close/>
                <a:moveTo>
                  <a:pt x="3388356" y="3209215"/>
                </a:moveTo>
                <a:lnTo>
                  <a:pt x="3388356" y="3218187"/>
                </a:lnTo>
                <a:lnTo>
                  <a:pt x="3407197" y="3218187"/>
                </a:lnTo>
                <a:lnTo>
                  <a:pt x="3407197" y="3266038"/>
                </a:lnTo>
                <a:lnTo>
                  <a:pt x="3417664" y="3266038"/>
                </a:lnTo>
                <a:lnTo>
                  <a:pt x="3417664" y="3218187"/>
                </a:lnTo>
                <a:lnTo>
                  <a:pt x="3436504" y="3218187"/>
                </a:lnTo>
                <a:lnTo>
                  <a:pt x="3436504" y="3209215"/>
                </a:lnTo>
                <a:close/>
                <a:moveTo>
                  <a:pt x="3195756" y="3209215"/>
                </a:moveTo>
                <a:lnTo>
                  <a:pt x="3220579" y="3266038"/>
                </a:lnTo>
                <a:lnTo>
                  <a:pt x="3230896" y="3266038"/>
                </a:lnTo>
                <a:lnTo>
                  <a:pt x="3255719" y="3209215"/>
                </a:lnTo>
                <a:lnTo>
                  <a:pt x="3245101" y="3209215"/>
                </a:lnTo>
                <a:lnTo>
                  <a:pt x="3226110" y="3253029"/>
                </a:lnTo>
                <a:lnTo>
                  <a:pt x="3207121" y="3209215"/>
                </a:lnTo>
                <a:close/>
                <a:moveTo>
                  <a:pt x="3105589" y="3209215"/>
                </a:moveTo>
                <a:lnTo>
                  <a:pt x="3105589" y="3266038"/>
                </a:lnTo>
                <a:lnTo>
                  <a:pt x="3116203" y="3266038"/>
                </a:lnTo>
                <a:lnTo>
                  <a:pt x="3116203" y="3249439"/>
                </a:lnTo>
                <a:lnTo>
                  <a:pt x="3131158" y="3249439"/>
                </a:lnTo>
                <a:lnTo>
                  <a:pt x="3142822" y="3266038"/>
                </a:lnTo>
                <a:lnTo>
                  <a:pt x="3154484" y="3266038"/>
                </a:lnTo>
                <a:lnTo>
                  <a:pt x="3141476" y="3247346"/>
                </a:lnTo>
                <a:cubicBezTo>
                  <a:pt x="3145121" y="3246062"/>
                  <a:pt x="3148262" y="3243652"/>
                  <a:pt x="3150448" y="3240467"/>
                </a:cubicBezTo>
                <a:cubicBezTo>
                  <a:pt x="3152613" y="3237193"/>
                  <a:pt x="3153710" y="3233326"/>
                  <a:pt x="3153587" y="3229402"/>
                </a:cubicBezTo>
                <a:cubicBezTo>
                  <a:pt x="3153632" y="3225602"/>
                  <a:pt x="3152596" y="3221868"/>
                  <a:pt x="3150598" y="3218635"/>
                </a:cubicBezTo>
                <a:cubicBezTo>
                  <a:pt x="3148562" y="3215554"/>
                  <a:pt x="3145642" y="3213156"/>
                  <a:pt x="3142224" y="3211757"/>
                </a:cubicBezTo>
                <a:cubicBezTo>
                  <a:pt x="3138169" y="3209997"/>
                  <a:pt x="3133783" y="3209130"/>
                  <a:pt x="3129364" y="3209215"/>
                </a:cubicBezTo>
                <a:close/>
                <a:moveTo>
                  <a:pt x="3012428" y="3209215"/>
                </a:moveTo>
                <a:lnTo>
                  <a:pt x="3012428" y="3266038"/>
                </a:lnTo>
                <a:lnTo>
                  <a:pt x="3054895" y="3266038"/>
                </a:lnTo>
                <a:lnTo>
                  <a:pt x="3054895" y="3257215"/>
                </a:lnTo>
                <a:lnTo>
                  <a:pt x="3022896" y="3257215"/>
                </a:lnTo>
                <a:lnTo>
                  <a:pt x="3022896" y="3241514"/>
                </a:lnTo>
                <a:lnTo>
                  <a:pt x="3050259" y="3241514"/>
                </a:lnTo>
                <a:lnTo>
                  <a:pt x="3050259" y="3232841"/>
                </a:lnTo>
                <a:lnTo>
                  <a:pt x="3022896" y="3232841"/>
                </a:lnTo>
                <a:lnTo>
                  <a:pt x="3022896" y="3218187"/>
                </a:lnTo>
                <a:lnTo>
                  <a:pt x="3053850" y="3218187"/>
                </a:lnTo>
                <a:lnTo>
                  <a:pt x="3053850" y="3209215"/>
                </a:lnTo>
                <a:close/>
                <a:moveTo>
                  <a:pt x="4367944" y="3208915"/>
                </a:moveTo>
                <a:lnTo>
                  <a:pt x="4367944" y="3265738"/>
                </a:lnTo>
                <a:lnTo>
                  <a:pt x="4410561" y="3265738"/>
                </a:lnTo>
                <a:lnTo>
                  <a:pt x="4410561" y="3256916"/>
                </a:lnTo>
                <a:lnTo>
                  <a:pt x="4378561" y="3256916"/>
                </a:lnTo>
                <a:lnTo>
                  <a:pt x="4378561" y="3241962"/>
                </a:lnTo>
                <a:lnTo>
                  <a:pt x="4405926" y="3241962"/>
                </a:lnTo>
                <a:lnTo>
                  <a:pt x="4405926" y="3232841"/>
                </a:lnTo>
                <a:lnTo>
                  <a:pt x="4378561" y="3232841"/>
                </a:lnTo>
                <a:lnTo>
                  <a:pt x="4378561" y="3217887"/>
                </a:lnTo>
                <a:lnTo>
                  <a:pt x="4409365" y="3217887"/>
                </a:lnTo>
                <a:lnTo>
                  <a:pt x="4409365" y="3208915"/>
                </a:lnTo>
                <a:close/>
                <a:moveTo>
                  <a:pt x="4824322" y="3208467"/>
                </a:moveTo>
                <a:cubicBezTo>
                  <a:pt x="4820030" y="3208348"/>
                  <a:pt x="4815753" y="3209110"/>
                  <a:pt x="4811761" y="3210710"/>
                </a:cubicBezTo>
                <a:cubicBezTo>
                  <a:pt x="4808666" y="3211950"/>
                  <a:pt x="4806004" y="3214084"/>
                  <a:pt x="4804135" y="3216841"/>
                </a:cubicBezTo>
                <a:cubicBezTo>
                  <a:pt x="4802445" y="3219359"/>
                  <a:pt x="4801563" y="3222332"/>
                  <a:pt x="4801593" y="3225365"/>
                </a:cubicBezTo>
                <a:cubicBezTo>
                  <a:pt x="4801398" y="3228603"/>
                  <a:pt x="4802415" y="3231799"/>
                  <a:pt x="4804434" y="3234337"/>
                </a:cubicBezTo>
                <a:cubicBezTo>
                  <a:pt x="4806333" y="3236439"/>
                  <a:pt x="4808681" y="3238076"/>
                  <a:pt x="4811312" y="3239122"/>
                </a:cubicBezTo>
                <a:cubicBezTo>
                  <a:pt x="4814722" y="3240396"/>
                  <a:pt x="4818221" y="3241445"/>
                  <a:pt x="4821780" y="3242262"/>
                </a:cubicBezTo>
                <a:lnTo>
                  <a:pt x="4829107" y="3244206"/>
                </a:lnTo>
                <a:cubicBezTo>
                  <a:pt x="4830722" y="3244710"/>
                  <a:pt x="4832217" y="3245579"/>
                  <a:pt x="4833444" y="3246748"/>
                </a:cubicBezTo>
                <a:cubicBezTo>
                  <a:pt x="4834580" y="3247717"/>
                  <a:pt x="4835238" y="3249139"/>
                  <a:pt x="4835238" y="3250636"/>
                </a:cubicBezTo>
                <a:cubicBezTo>
                  <a:pt x="4835253" y="3252868"/>
                  <a:pt x="4834042" y="3254930"/>
                  <a:pt x="4832098" y="3256019"/>
                </a:cubicBezTo>
                <a:cubicBezTo>
                  <a:pt x="4829212" y="3257579"/>
                  <a:pt x="4825952" y="3258304"/>
                  <a:pt x="4822677" y="3258113"/>
                </a:cubicBezTo>
                <a:cubicBezTo>
                  <a:pt x="4819208" y="3258108"/>
                  <a:pt x="4815769" y="3257501"/>
                  <a:pt x="4812509" y="3256318"/>
                </a:cubicBezTo>
                <a:cubicBezTo>
                  <a:pt x="4809428" y="3255316"/>
                  <a:pt x="4806557" y="3253798"/>
                  <a:pt x="4803985" y="3251832"/>
                </a:cubicBezTo>
                <a:lnTo>
                  <a:pt x="4800247" y="3260056"/>
                </a:lnTo>
                <a:cubicBezTo>
                  <a:pt x="4803103" y="3262373"/>
                  <a:pt x="4806408" y="3264055"/>
                  <a:pt x="4809967" y="3264991"/>
                </a:cubicBezTo>
                <a:cubicBezTo>
                  <a:pt x="4814094" y="3266195"/>
                  <a:pt x="4818370" y="3266799"/>
                  <a:pt x="4822677" y="3266786"/>
                </a:cubicBezTo>
                <a:cubicBezTo>
                  <a:pt x="4827014" y="3266889"/>
                  <a:pt x="4831335" y="3266126"/>
                  <a:pt x="4835387" y="3264543"/>
                </a:cubicBezTo>
                <a:cubicBezTo>
                  <a:pt x="4838468" y="3263360"/>
                  <a:pt x="4841130" y="3261275"/>
                  <a:pt x="4843014" y="3258561"/>
                </a:cubicBezTo>
                <a:cubicBezTo>
                  <a:pt x="4844703" y="3256043"/>
                  <a:pt x="4845586" y="3253070"/>
                  <a:pt x="4845556" y="3250038"/>
                </a:cubicBezTo>
                <a:cubicBezTo>
                  <a:pt x="4845750" y="3246844"/>
                  <a:pt x="4844733" y="3243693"/>
                  <a:pt x="4842715" y="3241215"/>
                </a:cubicBezTo>
                <a:cubicBezTo>
                  <a:pt x="4840816" y="3239113"/>
                  <a:pt x="4838468" y="3237475"/>
                  <a:pt x="4835836" y="3236430"/>
                </a:cubicBezTo>
                <a:cubicBezTo>
                  <a:pt x="4832427" y="3235155"/>
                  <a:pt x="4828928" y="3234106"/>
                  <a:pt x="4825369" y="3233290"/>
                </a:cubicBezTo>
                <a:lnTo>
                  <a:pt x="4818191" y="3231346"/>
                </a:lnTo>
                <a:cubicBezTo>
                  <a:pt x="4816546" y="3230855"/>
                  <a:pt x="4815021" y="3230042"/>
                  <a:pt x="4813705" y="3228953"/>
                </a:cubicBezTo>
                <a:cubicBezTo>
                  <a:pt x="4812524" y="3227952"/>
                  <a:pt x="4811866" y="3226465"/>
                  <a:pt x="4811911" y="3224916"/>
                </a:cubicBezTo>
                <a:cubicBezTo>
                  <a:pt x="4811911" y="3222647"/>
                  <a:pt x="4813107" y="3220543"/>
                  <a:pt x="4815051" y="3219383"/>
                </a:cubicBezTo>
                <a:cubicBezTo>
                  <a:pt x="4817832" y="3217695"/>
                  <a:pt x="4821092" y="3216961"/>
                  <a:pt x="4824322" y="3217290"/>
                </a:cubicBezTo>
                <a:cubicBezTo>
                  <a:pt x="4826954" y="3217279"/>
                  <a:pt x="4829571" y="3217632"/>
                  <a:pt x="4832098" y="3218336"/>
                </a:cubicBezTo>
                <a:cubicBezTo>
                  <a:pt x="4834804" y="3219122"/>
                  <a:pt x="4837421" y="3220227"/>
                  <a:pt x="4839873" y="3221626"/>
                </a:cubicBezTo>
                <a:lnTo>
                  <a:pt x="4843313" y="3213551"/>
                </a:lnTo>
                <a:cubicBezTo>
                  <a:pt x="4840636" y="3211854"/>
                  <a:pt x="4837705" y="3210592"/>
                  <a:pt x="4834640" y="3209813"/>
                </a:cubicBezTo>
                <a:cubicBezTo>
                  <a:pt x="4831275" y="3208916"/>
                  <a:pt x="4827806" y="3208464"/>
                  <a:pt x="4824322" y="3208467"/>
                </a:cubicBezTo>
                <a:close/>
                <a:moveTo>
                  <a:pt x="3508284" y="3208467"/>
                </a:moveTo>
                <a:cubicBezTo>
                  <a:pt x="3503069" y="3208476"/>
                  <a:pt x="3497936" y="3209759"/>
                  <a:pt x="3493330" y="3212205"/>
                </a:cubicBezTo>
                <a:cubicBezTo>
                  <a:pt x="3488506" y="3214857"/>
                  <a:pt x="3484538" y="3218827"/>
                  <a:pt x="3481885" y="3223649"/>
                </a:cubicBezTo>
                <a:cubicBezTo>
                  <a:pt x="3474166" y="3237689"/>
                  <a:pt x="3479289" y="3255328"/>
                  <a:pt x="3493330" y="3263047"/>
                </a:cubicBezTo>
                <a:cubicBezTo>
                  <a:pt x="3497936" y="3265493"/>
                  <a:pt x="3503069" y="3266776"/>
                  <a:pt x="3508284" y="3266785"/>
                </a:cubicBezTo>
                <a:cubicBezTo>
                  <a:pt x="3513501" y="3266794"/>
                  <a:pt x="3518638" y="3265510"/>
                  <a:pt x="3523238" y="3263047"/>
                </a:cubicBezTo>
                <a:cubicBezTo>
                  <a:pt x="3527830" y="3260662"/>
                  <a:pt x="3531666" y="3257036"/>
                  <a:pt x="3534303" y="3252580"/>
                </a:cubicBezTo>
                <a:cubicBezTo>
                  <a:pt x="3536889" y="3248022"/>
                  <a:pt x="3538227" y="3242864"/>
                  <a:pt x="3538192" y="3237626"/>
                </a:cubicBezTo>
                <a:cubicBezTo>
                  <a:pt x="3538227" y="3232386"/>
                  <a:pt x="3536889" y="3227231"/>
                  <a:pt x="3534303" y="3222673"/>
                </a:cubicBezTo>
                <a:cubicBezTo>
                  <a:pt x="3531666" y="3218217"/>
                  <a:pt x="3527830" y="3214590"/>
                  <a:pt x="3523238" y="3212205"/>
                </a:cubicBezTo>
                <a:cubicBezTo>
                  <a:pt x="3518638" y="3209743"/>
                  <a:pt x="3513501" y="3208458"/>
                  <a:pt x="3508284" y="3208467"/>
                </a:cubicBezTo>
                <a:close/>
                <a:moveTo>
                  <a:pt x="2740575" y="3208317"/>
                </a:moveTo>
                <a:cubicBezTo>
                  <a:pt x="2735360" y="3208320"/>
                  <a:pt x="2730225" y="3209604"/>
                  <a:pt x="2725622" y="3212055"/>
                </a:cubicBezTo>
                <a:cubicBezTo>
                  <a:pt x="2721047" y="3214484"/>
                  <a:pt x="2717260" y="3218167"/>
                  <a:pt x="2714706" y="3222672"/>
                </a:cubicBezTo>
                <a:cubicBezTo>
                  <a:pt x="2709363" y="3231925"/>
                  <a:pt x="2709363" y="3243326"/>
                  <a:pt x="2714706" y="3252579"/>
                </a:cubicBezTo>
                <a:cubicBezTo>
                  <a:pt x="2717282" y="3257029"/>
                  <a:pt x="2721067" y="3260658"/>
                  <a:pt x="2725622" y="3263047"/>
                </a:cubicBezTo>
                <a:lnTo>
                  <a:pt x="2725622" y="3262897"/>
                </a:lnTo>
                <a:cubicBezTo>
                  <a:pt x="2730225" y="3265348"/>
                  <a:pt x="2735360" y="3266632"/>
                  <a:pt x="2740575" y="3266635"/>
                </a:cubicBezTo>
                <a:cubicBezTo>
                  <a:pt x="2745790" y="3266626"/>
                  <a:pt x="2750923" y="3265343"/>
                  <a:pt x="2755529" y="3262897"/>
                </a:cubicBezTo>
                <a:cubicBezTo>
                  <a:pt x="2760083" y="3260509"/>
                  <a:pt x="2763868" y="3256880"/>
                  <a:pt x="2766445" y="3252430"/>
                </a:cubicBezTo>
                <a:cubicBezTo>
                  <a:pt x="2769171" y="3247924"/>
                  <a:pt x="2770571" y="3242741"/>
                  <a:pt x="2770482" y="3237476"/>
                </a:cubicBezTo>
                <a:cubicBezTo>
                  <a:pt x="2770547" y="3232214"/>
                  <a:pt x="2769149" y="3227037"/>
                  <a:pt x="2766445" y="3222523"/>
                </a:cubicBezTo>
                <a:cubicBezTo>
                  <a:pt x="2763868" y="3218073"/>
                  <a:pt x="2760083" y="3214443"/>
                  <a:pt x="2755529" y="3212055"/>
                </a:cubicBezTo>
                <a:cubicBezTo>
                  <a:pt x="2750923" y="3209609"/>
                  <a:pt x="2745790" y="3208326"/>
                  <a:pt x="2740575" y="3208317"/>
                </a:cubicBezTo>
                <a:close/>
                <a:moveTo>
                  <a:pt x="4125549" y="3208168"/>
                </a:moveTo>
                <a:cubicBezTo>
                  <a:pt x="4121203" y="3208036"/>
                  <a:pt x="4116877" y="3208799"/>
                  <a:pt x="4112839" y="3210411"/>
                </a:cubicBezTo>
                <a:cubicBezTo>
                  <a:pt x="4109743" y="3211650"/>
                  <a:pt x="4107087" y="3213784"/>
                  <a:pt x="4105212" y="3216542"/>
                </a:cubicBezTo>
                <a:cubicBezTo>
                  <a:pt x="4103520" y="3219060"/>
                  <a:pt x="4102633" y="3222032"/>
                  <a:pt x="4102670" y="3225065"/>
                </a:cubicBezTo>
                <a:cubicBezTo>
                  <a:pt x="4102479" y="3228304"/>
                  <a:pt x="4103491" y="3231499"/>
                  <a:pt x="4105511" y="3234037"/>
                </a:cubicBezTo>
                <a:cubicBezTo>
                  <a:pt x="4107406" y="3236139"/>
                  <a:pt x="4109760" y="3237777"/>
                  <a:pt x="4112390" y="3238822"/>
                </a:cubicBezTo>
                <a:cubicBezTo>
                  <a:pt x="4115807" y="3240098"/>
                  <a:pt x="4119303" y="3241146"/>
                  <a:pt x="4122857" y="3241962"/>
                </a:cubicBezTo>
                <a:lnTo>
                  <a:pt x="4130185" y="3244205"/>
                </a:lnTo>
                <a:cubicBezTo>
                  <a:pt x="4131834" y="3244745"/>
                  <a:pt x="4133359" y="3245609"/>
                  <a:pt x="4134671" y="3246747"/>
                </a:cubicBezTo>
                <a:cubicBezTo>
                  <a:pt x="4135725" y="3247766"/>
                  <a:pt x="4136320" y="3249170"/>
                  <a:pt x="4136315" y="3250635"/>
                </a:cubicBezTo>
                <a:cubicBezTo>
                  <a:pt x="4136327" y="3252868"/>
                  <a:pt x="4135124" y="3254930"/>
                  <a:pt x="4133175" y="3256019"/>
                </a:cubicBezTo>
                <a:cubicBezTo>
                  <a:pt x="4130300" y="3257602"/>
                  <a:pt x="4127031" y="3258327"/>
                  <a:pt x="4123755" y="3258112"/>
                </a:cubicBezTo>
                <a:cubicBezTo>
                  <a:pt x="4120288" y="3258085"/>
                  <a:pt x="4116852" y="3257478"/>
                  <a:pt x="4113586" y="3256318"/>
                </a:cubicBezTo>
                <a:cubicBezTo>
                  <a:pt x="4110539" y="3255250"/>
                  <a:pt x="4107668" y="3253740"/>
                  <a:pt x="4105063" y="3251832"/>
                </a:cubicBezTo>
                <a:lnTo>
                  <a:pt x="4101474" y="3260056"/>
                </a:lnTo>
                <a:cubicBezTo>
                  <a:pt x="4104270" y="3262374"/>
                  <a:pt x="4107535" y="3264056"/>
                  <a:pt x="4111044" y="3264991"/>
                </a:cubicBezTo>
                <a:lnTo>
                  <a:pt x="4111044" y="3264691"/>
                </a:lnTo>
                <a:cubicBezTo>
                  <a:pt x="4115176" y="3265883"/>
                  <a:pt x="4119454" y="3266487"/>
                  <a:pt x="4123755" y="3266486"/>
                </a:cubicBezTo>
                <a:cubicBezTo>
                  <a:pt x="4128100" y="3266618"/>
                  <a:pt x="4132428" y="3265855"/>
                  <a:pt x="4136465" y="3264243"/>
                </a:cubicBezTo>
                <a:cubicBezTo>
                  <a:pt x="4139566" y="3263017"/>
                  <a:pt x="4142261" y="3260944"/>
                  <a:pt x="4144241" y="3258261"/>
                </a:cubicBezTo>
                <a:cubicBezTo>
                  <a:pt x="4145933" y="3255743"/>
                  <a:pt x="4146820" y="3252771"/>
                  <a:pt x="4146783" y="3249738"/>
                </a:cubicBezTo>
                <a:cubicBezTo>
                  <a:pt x="4146923" y="3246528"/>
                  <a:pt x="4145857" y="3243380"/>
                  <a:pt x="4143792" y="3240916"/>
                </a:cubicBezTo>
                <a:cubicBezTo>
                  <a:pt x="4141924" y="3238782"/>
                  <a:pt x="4139563" y="3237140"/>
                  <a:pt x="4136914" y="3236130"/>
                </a:cubicBezTo>
                <a:cubicBezTo>
                  <a:pt x="4133542" y="3234874"/>
                  <a:pt x="4130096" y="3233826"/>
                  <a:pt x="4126596" y="3232990"/>
                </a:cubicBezTo>
                <a:lnTo>
                  <a:pt x="4119268" y="3231046"/>
                </a:lnTo>
                <a:cubicBezTo>
                  <a:pt x="4117630" y="3230556"/>
                  <a:pt x="4116104" y="3229742"/>
                  <a:pt x="4114783" y="3228654"/>
                </a:cubicBezTo>
                <a:cubicBezTo>
                  <a:pt x="4113704" y="3227589"/>
                  <a:pt x="4113111" y="3226131"/>
                  <a:pt x="4113138" y="3224616"/>
                </a:cubicBezTo>
                <a:cubicBezTo>
                  <a:pt x="4113132" y="3222384"/>
                  <a:pt x="4114258" y="3220301"/>
                  <a:pt x="4116128" y="3219084"/>
                </a:cubicBezTo>
                <a:cubicBezTo>
                  <a:pt x="4118928" y="3217445"/>
                  <a:pt x="4122166" y="3216713"/>
                  <a:pt x="4125399" y="3216990"/>
                </a:cubicBezTo>
                <a:cubicBezTo>
                  <a:pt x="4128076" y="3216983"/>
                  <a:pt x="4130742" y="3217336"/>
                  <a:pt x="4133325" y="3218037"/>
                </a:cubicBezTo>
                <a:cubicBezTo>
                  <a:pt x="4136028" y="3218850"/>
                  <a:pt x="4138635" y="3219954"/>
                  <a:pt x="4141101" y="3221327"/>
                </a:cubicBezTo>
                <a:lnTo>
                  <a:pt x="4144390" y="3213252"/>
                </a:lnTo>
                <a:cubicBezTo>
                  <a:pt x="4141726" y="3211535"/>
                  <a:pt x="4138795" y="3210271"/>
                  <a:pt x="4135717" y="3209513"/>
                </a:cubicBezTo>
                <a:cubicBezTo>
                  <a:pt x="4132402" y="3208616"/>
                  <a:pt x="4128984" y="3208163"/>
                  <a:pt x="4125549" y="3208168"/>
                </a:cubicBezTo>
                <a:close/>
                <a:moveTo>
                  <a:pt x="2941848" y="3208168"/>
                </a:moveTo>
                <a:cubicBezTo>
                  <a:pt x="2937503" y="3208036"/>
                  <a:pt x="2933175" y="3208799"/>
                  <a:pt x="2929138" y="3210411"/>
                </a:cubicBezTo>
                <a:cubicBezTo>
                  <a:pt x="2926043" y="3211650"/>
                  <a:pt x="2923387" y="3213784"/>
                  <a:pt x="2921511" y="3216542"/>
                </a:cubicBezTo>
                <a:cubicBezTo>
                  <a:pt x="2919819" y="3219060"/>
                  <a:pt x="2918932" y="3222032"/>
                  <a:pt x="2918969" y="3225065"/>
                </a:cubicBezTo>
                <a:cubicBezTo>
                  <a:pt x="2918778" y="3228304"/>
                  <a:pt x="2919790" y="3231499"/>
                  <a:pt x="2921810" y="3234037"/>
                </a:cubicBezTo>
                <a:cubicBezTo>
                  <a:pt x="2923705" y="3236139"/>
                  <a:pt x="2926059" y="3237777"/>
                  <a:pt x="2928690" y="3238822"/>
                </a:cubicBezTo>
                <a:cubicBezTo>
                  <a:pt x="2932106" y="3240098"/>
                  <a:pt x="2935602" y="3241146"/>
                  <a:pt x="2939156" y="3241962"/>
                </a:cubicBezTo>
                <a:lnTo>
                  <a:pt x="2946485" y="3244205"/>
                </a:lnTo>
                <a:cubicBezTo>
                  <a:pt x="2948133" y="3244745"/>
                  <a:pt x="2949658" y="3245609"/>
                  <a:pt x="2950970" y="3246747"/>
                </a:cubicBezTo>
                <a:cubicBezTo>
                  <a:pt x="2952025" y="3247766"/>
                  <a:pt x="2952620" y="3249170"/>
                  <a:pt x="2952614" y="3250635"/>
                </a:cubicBezTo>
                <a:cubicBezTo>
                  <a:pt x="2952627" y="3252868"/>
                  <a:pt x="2951423" y="3254930"/>
                  <a:pt x="2949475" y="3256019"/>
                </a:cubicBezTo>
                <a:cubicBezTo>
                  <a:pt x="2946600" y="3257602"/>
                  <a:pt x="2943330" y="3258327"/>
                  <a:pt x="2940054" y="3258112"/>
                </a:cubicBezTo>
                <a:cubicBezTo>
                  <a:pt x="2936587" y="3258085"/>
                  <a:pt x="2933151" y="3257478"/>
                  <a:pt x="2929885" y="3256318"/>
                </a:cubicBezTo>
                <a:cubicBezTo>
                  <a:pt x="2926839" y="3255250"/>
                  <a:pt x="2923967" y="3253740"/>
                  <a:pt x="2921362" y="3251832"/>
                </a:cubicBezTo>
                <a:lnTo>
                  <a:pt x="2917773" y="3260056"/>
                </a:lnTo>
                <a:cubicBezTo>
                  <a:pt x="2920569" y="3262374"/>
                  <a:pt x="2923834" y="3264056"/>
                  <a:pt x="2927343" y="3264991"/>
                </a:cubicBezTo>
                <a:lnTo>
                  <a:pt x="2927343" y="3264691"/>
                </a:lnTo>
                <a:cubicBezTo>
                  <a:pt x="2931475" y="3265883"/>
                  <a:pt x="2935753" y="3266487"/>
                  <a:pt x="2940054" y="3266486"/>
                </a:cubicBezTo>
                <a:cubicBezTo>
                  <a:pt x="2944400" y="3266618"/>
                  <a:pt x="2948726" y="3265855"/>
                  <a:pt x="2952765" y="3264243"/>
                </a:cubicBezTo>
                <a:cubicBezTo>
                  <a:pt x="2955865" y="3263017"/>
                  <a:pt x="2958560" y="3260944"/>
                  <a:pt x="2960540" y="3258261"/>
                </a:cubicBezTo>
                <a:cubicBezTo>
                  <a:pt x="2962232" y="3255743"/>
                  <a:pt x="2963119" y="3252771"/>
                  <a:pt x="2963082" y="3249738"/>
                </a:cubicBezTo>
                <a:cubicBezTo>
                  <a:pt x="2963223" y="3246528"/>
                  <a:pt x="2962157" y="3243380"/>
                  <a:pt x="2960091" y="3240916"/>
                </a:cubicBezTo>
                <a:cubicBezTo>
                  <a:pt x="2958223" y="3238782"/>
                  <a:pt x="2955862" y="3237140"/>
                  <a:pt x="2953214" y="3236130"/>
                </a:cubicBezTo>
                <a:cubicBezTo>
                  <a:pt x="2949842" y="3234874"/>
                  <a:pt x="2946396" y="3233826"/>
                  <a:pt x="2942895" y="3232990"/>
                </a:cubicBezTo>
                <a:lnTo>
                  <a:pt x="2935568" y="3231046"/>
                </a:lnTo>
                <a:cubicBezTo>
                  <a:pt x="2933927" y="3230556"/>
                  <a:pt x="2932404" y="3229742"/>
                  <a:pt x="2931082" y="3228654"/>
                </a:cubicBezTo>
                <a:cubicBezTo>
                  <a:pt x="2930003" y="3227589"/>
                  <a:pt x="2929410" y="3226131"/>
                  <a:pt x="2929437" y="3224616"/>
                </a:cubicBezTo>
                <a:cubicBezTo>
                  <a:pt x="2929431" y="3222384"/>
                  <a:pt x="2930557" y="3220301"/>
                  <a:pt x="2932428" y="3219084"/>
                </a:cubicBezTo>
                <a:cubicBezTo>
                  <a:pt x="2935227" y="3217445"/>
                  <a:pt x="2938466" y="3216713"/>
                  <a:pt x="2941698" y="3216990"/>
                </a:cubicBezTo>
                <a:cubicBezTo>
                  <a:pt x="2944376" y="3216983"/>
                  <a:pt x="2947041" y="3217336"/>
                  <a:pt x="2949624" y="3218037"/>
                </a:cubicBezTo>
                <a:cubicBezTo>
                  <a:pt x="2952327" y="3218850"/>
                  <a:pt x="2954934" y="3219954"/>
                  <a:pt x="2957401" y="3221327"/>
                </a:cubicBezTo>
                <a:lnTo>
                  <a:pt x="2960690" y="3213252"/>
                </a:lnTo>
                <a:cubicBezTo>
                  <a:pt x="2958026" y="3211535"/>
                  <a:pt x="2955095" y="3210271"/>
                  <a:pt x="2952017" y="3209513"/>
                </a:cubicBezTo>
                <a:cubicBezTo>
                  <a:pt x="2948702" y="3208616"/>
                  <a:pt x="2945283" y="3208163"/>
                  <a:pt x="2941848" y="3208168"/>
                </a:cubicBezTo>
                <a:close/>
                <a:moveTo>
                  <a:pt x="4392916" y="3193214"/>
                </a:moveTo>
                <a:lnTo>
                  <a:pt x="4382000" y="3204429"/>
                </a:lnTo>
                <a:lnTo>
                  <a:pt x="4390823" y="3204429"/>
                </a:lnTo>
                <a:lnTo>
                  <a:pt x="4404879" y="3193214"/>
                </a:lnTo>
                <a:close/>
                <a:moveTo>
                  <a:pt x="4701555" y="2947530"/>
                </a:moveTo>
                <a:lnTo>
                  <a:pt x="4779462" y="2947530"/>
                </a:lnTo>
                <a:lnTo>
                  <a:pt x="4779462" y="2985362"/>
                </a:lnTo>
                <a:cubicBezTo>
                  <a:pt x="4773765" y="3000990"/>
                  <a:pt x="4762759" y="3014117"/>
                  <a:pt x="4748359" y="3022446"/>
                </a:cubicBezTo>
                <a:lnTo>
                  <a:pt x="4747911" y="3022147"/>
                </a:lnTo>
                <a:cubicBezTo>
                  <a:pt x="4732598" y="3030977"/>
                  <a:pt x="4715178" y="3035474"/>
                  <a:pt x="4697518" y="3035157"/>
                </a:cubicBezTo>
                <a:cubicBezTo>
                  <a:pt x="4681652" y="3035987"/>
                  <a:pt x="4665951" y="3031744"/>
                  <a:pt x="4652657" y="3023044"/>
                </a:cubicBezTo>
                <a:cubicBezTo>
                  <a:pt x="4642085" y="3015610"/>
                  <a:pt x="4635969" y="3003361"/>
                  <a:pt x="4636358" y="2990446"/>
                </a:cubicBezTo>
                <a:cubicBezTo>
                  <a:pt x="4636358" y="2961836"/>
                  <a:pt x="4658086" y="2947530"/>
                  <a:pt x="4701555" y="2947530"/>
                </a:cubicBezTo>
                <a:close/>
                <a:moveTo>
                  <a:pt x="2882175" y="2823267"/>
                </a:moveTo>
                <a:cubicBezTo>
                  <a:pt x="2908059" y="2822583"/>
                  <a:pt x="2933033" y="2832845"/>
                  <a:pt x="2950961" y="2851529"/>
                </a:cubicBezTo>
                <a:cubicBezTo>
                  <a:pt x="2987221" y="2893478"/>
                  <a:pt x="2987221" y="2955675"/>
                  <a:pt x="2950961" y="2997624"/>
                </a:cubicBezTo>
                <a:lnTo>
                  <a:pt x="2950961" y="2997175"/>
                </a:lnTo>
                <a:cubicBezTo>
                  <a:pt x="2932955" y="3015695"/>
                  <a:pt x="2907992" y="3025789"/>
                  <a:pt x="2882175" y="3024988"/>
                </a:cubicBezTo>
                <a:cubicBezTo>
                  <a:pt x="2856434" y="3025854"/>
                  <a:pt x="2831537" y="3015743"/>
                  <a:pt x="2813688" y="2997175"/>
                </a:cubicBezTo>
                <a:cubicBezTo>
                  <a:pt x="2777808" y="2955086"/>
                  <a:pt x="2777808" y="2893170"/>
                  <a:pt x="2813688" y="2851080"/>
                </a:cubicBezTo>
                <a:cubicBezTo>
                  <a:pt x="2831537" y="2832513"/>
                  <a:pt x="2856434" y="2822401"/>
                  <a:pt x="2882175" y="2823267"/>
                </a:cubicBezTo>
                <a:close/>
                <a:moveTo>
                  <a:pt x="3952688" y="2820126"/>
                </a:moveTo>
                <a:cubicBezTo>
                  <a:pt x="3998968" y="2818352"/>
                  <a:pt x="4038766" y="2852605"/>
                  <a:pt x="4043904" y="2898632"/>
                </a:cubicBezTo>
                <a:lnTo>
                  <a:pt x="3862071" y="2898632"/>
                </a:lnTo>
                <a:cubicBezTo>
                  <a:pt x="3864653" y="2876597"/>
                  <a:pt x="3875308" y="2856299"/>
                  <a:pt x="3891978" y="2841659"/>
                </a:cubicBezTo>
                <a:cubicBezTo>
                  <a:pt x="3908902" y="2827301"/>
                  <a:pt x="3930499" y="2819640"/>
                  <a:pt x="3952688" y="2820126"/>
                </a:cubicBezTo>
                <a:close/>
                <a:moveTo>
                  <a:pt x="3953586" y="2760612"/>
                </a:moveTo>
                <a:cubicBezTo>
                  <a:pt x="3923683" y="2760130"/>
                  <a:pt x="3894165" y="2767393"/>
                  <a:pt x="3867903" y="2781696"/>
                </a:cubicBezTo>
                <a:cubicBezTo>
                  <a:pt x="3842778" y="2795260"/>
                  <a:pt x="3822032" y="2815696"/>
                  <a:pt x="3808089" y="2840613"/>
                </a:cubicBezTo>
                <a:cubicBezTo>
                  <a:pt x="3779181" y="2893652"/>
                  <a:pt x="3779181" y="2957743"/>
                  <a:pt x="3808089" y="3010783"/>
                </a:cubicBezTo>
                <a:cubicBezTo>
                  <a:pt x="3822803" y="3036040"/>
                  <a:pt x="3844511" y="3056503"/>
                  <a:pt x="3870594" y="3069699"/>
                </a:cubicBezTo>
                <a:cubicBezTo>
                  <a:pt x="3923395" y="3094809"/>
                  <a:pt x="3984080" y="3097611"/>
                  <a:pt x="4038970" y="3077475"/>
                </a:cubicBezTo>
                <a:cubicBezTo>
                  <a:pt x="4060668" y="3069153"/>
                  <a:pt x="4079873" y="3055407"/>
                  <a:pt x="4094746" y="3037549"/>
                </a:cubicBezTo>
                <a:lnTo>
                  <a:pt x="4054222" y="2991044"/>
                </a:lnTo>
                <a:cubicBezTo>
                  <a:pt x="4031239" y="3014427"/>
                  <a:pt x="3999514" y="3027116"/>
                  <a:pt x="3966745" y="3026035"/>
                </a:cubicBezTo>
                <a:cubicBezTo>
                  <a:pt x="3941771" y="3026958"/>
                  <a:pt x="3917185" y="3019656"/>
                  <a:pt x="3896763" y="3005250"/>
                </a:cubicBezTo>
                <a:cubicBezTo>
                  <a:pt x="3878276" y="2991648"/>
                  <a:pt x="3865828" y="2971368"/>
                  <a:pt x="3862071" y="2948726"/>
                </a:cubicBezTo>
                <a:lnTo>
                  <a:pt x="4114484" y="2948726"/>
                </a:lnTo>
                <a:lnTo>
                  <a:pt x="4115082" y="2948726"/>
                </a:lnTo>
                <a:cubicBezTo>
                  <a:pt x="4116279" y="2939156"/>
                  <a:pt x="4116279" y="2931679"/>
                  <a:pt x="4116279" y="2926445"/>
                </a:cubicBezTo>
                <a:cubicBezTo>
                  <a:pt x="4116911" y="2896362"/>
                  <a:pt x="4109861" y="2866614"/>
                  <a:pt x="4095793" y="2840015"/>
                </a:cubicBezTo>
                <a:cubicBezTo>
                  <a:pt x="4082450" y="2815334"/>
                  <a:pt x="4062316" y="2794993"/>
                  <a:pt x="4037773" y="2781397"/>
                </a:cubicBezTo>
                <a:cubicBezTo>
                  <a:pt x="4012004" y="2767244"/>
                  <a:pt x="3982981" y="2760078"/>
                  <a:pt x="3953586" y="2760612"/>
                </a:cubicBezTo>
                <a:close/>
                <a:moveTo>
                  <a:pt x="4708135" y="2760014"/>
                </a:moveTo>
                <a:cubicBezTo>
                  <a:pt x="4682848" y="2759924"/>
                  <a:pt x="4657682" y="2763398"/>
                  <a:pt x="4633368" y="2770332"/>
                </a:cubicBezTo>
                <a:cubicBezTo>
                  <a:pt x="4611356" y="2776428"/>
                  <a:pt x="4590661" y="2786570"/>
                  <a:pt x="4572358" y="2800238"/>
                </a:cubicBezTo>
                <a:lnTo>
                  <a:pt x="4602264" y="2855117"/>
                </a:lnTo>
                <a:cubicBezTo>
                  <a:pt x="4615543" y="2844439"/>
                  <a:pt x="4630781" y="2836463"/>
                  <a:pt x="4647125" y="2831641"/>
                </a:cubicBezTo>
                <a:cubicBezTo>
                  <a:pt x="4664351" y="2826000"/>
                  <a:pt x="4682370" y="2823123"/>
                  <a:pt x="4700508" y="2823117"/>
                </a:cubicBezTo>
                <a:cubicBezTo>
                  <a:pt x="4722011" y="2821649"/>
                  <a:pt x="4743305" y="2828143"/>
                  <a:pt x="4760322" y="2841360"/>
                </a:cubicBezTo>
                <a:cubicBezTo>
                  <a:pt x="4774393" y="2854817"/>
                  <a:pt x="4781795" y="2873817"/>
                  <a:pt x="4780509" y="2893249"/>
                </a:cubicBezTo>
                <a:lnTo>
                  <a:pt x="4780509" y="2898034"/>
                </a:lnTo>
                <a:lnTo>
                  <a:pt x="4697219" y="2898034"/>
                </a:lnTo>
                <a:cubicBezTo>
                  <a:pt x="4650863" y="2898034"/>
                  <a:pt x="4616724" y="2906607"/>
                  <a:pt x="4594788" y="2923754"/>
                </a:cubicBezTo>
                <a:cubicBezTo>
                  <a:pt x="4573748" y="2940632"/>
                  <a:pt x="4561935" y="2966477"/>
                  <a:pt x="4562937" y="2993437"/>
                </a:cubicBezTo>
                <a:cubicBezTo>
                  <a:pt x="4562728" y="3011171"/>
                  <a:pt x="4567946" y="3028544"/>
                  <a:pt x="4577890" y="3043232"/>
                </a:cubicBezTo>
                <a:cubicBezTo>
                  <a:pt x="4588343" y="3058456"/>
                  <a:pt x="4602922" y="3070386"/>
                  <a:pt x="4619909" y="3077625"/>
                </a:cubicBezTo>
                <a:cubicBezTo>
                  <a:pt x="4639887" y="3086332"/>
                  <a:pt x="4661525" y="3090568"/>
                  <a:pt x="4683312" y="3090036"/>
                </a:cubicBezTo>
                <a:cubicBezTo>
                  <a:pt x="4704501" y="3090576"/>
                  <a:pt x="4725570" y="3086758"/>
                  <a:pt x="4745219" y="3078821"/>
                </a:cubicBezTo>
                <a:cubicBezTo>
                  <a:pt x="4761324" y="3072271"/>
                  <a:pt x="4775081" y="3061014"/>
                  <a:pt x="4784696" y="3046521"/>
                </a:cubicBezTo>
                <a:lnTo>
                  <a:pt x="4784696" y="3085849"/>
                </a:lnTo>
                <a:lnTo>
                  <a:pt x="4856024" y="3085849"/>
                </a:lnTo>
                <a:lnTo>
                  <a:pt x="4856024" y="2896239"/>
                </a:lnTo>
                <a:cubicBezTo>
                  <a:pt x="4856024" y="2850332"/>
                  <a:pt x="4843313" y="2816089"/>
                  <a:pt x="4818192" y="2793360"/>
                </a:cubicBezTo>
                <a:lnTo>
                  <a:pt x="4817145" y="2794257"/>
                </a:lnTo>
                <a:cubicBezTo>
                  <a:pt x="4792023" y="2771528"/>
                  <a:pt x="4755686" y="2760014"/>
                  <a:pt x="4708135" y="2760014"/>
                </a:cubicBezTo>
                <a:close/>
                <a:moveTo>
                  <a:pt x="4359121" y="2759865"/>
                </a:moveTo>
                <a:cubicBezTo>
                  <a:pt x="4327929" y="2759364"/>
                  <a:pt x="4297110" y="2766607"/>
                  <a:pt x="4269401" y="2780949"/>
                </a:cubicBezTo>
                <a:cubicBezTo>
                  <a:pt x="4243726" y="2794299"/>
                  <a:pt x="4222283" y="2814548"/>
                  <a:pt x="4207494" y="2839417"/>
                </a:cubicBezTo>
                <a:cubicBezTo>
                  <a:pt x="4177590" y="2892359"/>
                  <a:pt x="4177590" y="2957093"/>
                  <a:pt x="4207494" y="3010035"/>
                </a:cubicBezTo>
                <a:cubicBezTo>
                  <a:pt x="4222253" y="3035147"/>
                  <a:pt x="4243831" y="3055572"/>
                  <a:pt x="4269700" y="3068952"/>
                </a:cubicBezTo>
                <a:lnTo>
                  <a:pt x="4271046" y="3068653"/>
                </a:lnTo>
                <a:cubicBezTo>
                  <a:pt x="4298755" y="3082977"/>
                  <a:pt x="4329574" y="3090220"/>
                  <a:pt x="4360766" y="3089737"/>
                </a:cubicBezTo>
                <a:cubicBezTo>
                  <a:pt x="4389641" y="3090284"/>
                  <a:pt x="4418173" y="3083548"/>
                  <a:pt x="4443758" y="3070148"/>
                </a:cubicBezTo>
                <a:cubicBezTo>
                  <a:pt x="4467235" y="3057580"/>
                  <a:pt x="4486285" y="3038111"/>
                  <a:pt x="4498338" y="3014372"/>
                </a:cubicBezTo>
                <a:lnTo>
                  <a:pt x="4440319" y="2980428"/>
                </a:lnTo>
                <a:cubicBezTo>
                  <a:pt x="4432034" y="2994550"/>
                  <a:pt x="4420027" y="3006133"/>
                  <a:pt x="4405627" y="3013923"/>
                </a:cubicBezTo>
                <a:cubicBezTo>
                  <a:pt x="4367436" y="3033538"/>
                  <a:pt x="4321035" y="3027012"/>
                  <a:pt x="4289738" y="2997624"/>
                </a:cubicBezTo>
                <a:cubicBezTo>
                  <a:pt x="4252863" y="2955677"/>
                  <a:pt x="4252863" y="2892880"/>
                  <a:pt x="4289738" y="2850931"/>
                </a:cubicBezTo>
                <a:cubicBezTo>
                  <a:pt x="4308355" y="2832651"/>
                  <a:pt x="4333641" y="2822766"/>
                  <a:pt x="4359720" y="2823566"/>
                </a:cubicBezTo>
                <a:cubicBezTo>
                  <a:pt x="4375361" y="2823480"/>
                  <a:pt x="4390778" y="2827282"/>
                  <a:pt x="4404580" y="2834632"/>
                </a:cubicBezTo>
                <a:cubicBezTo>
                  <a:pt x="4418920" y="2842506"/>
                  <a:pt x="4430898" y="2854071"/>
                  <a:pt x="4439272" y="2868127"/>
                </a:cubicBezTo>
                <a:lnTo>
                  <a:pt x="4496693" y="2834632"/>
                </a:lnTo>
                <a:cubicBezTo>
                  <a:pt x="4484984" y="2810917"/>
                  <a:pt x="4466098" y="2791503"/>
                  <a:pt x="4442711" y="2779155"/>
                </a:cubicBezTo>
                <a:cubicBezTo>
                  <a:pt x="4416887" y="2765875"/>
                  <a:pt x="4388161" y="2759246"/>
                  <a:pt x="4359121" y="2759865"/>
                </a:cubicBezTo>
                <a:close/>
                <a:moveTo>
                  <a:pt x="3327936" y="2759864"/>
                </a:moveTo>
                <a:cubicBezTo>
                  <a:pt x="3307440" y="2759639"/>
                  <a:pt x="3287106" y="2763503"/>
                  <a:pt x="3268122" y="2771229"/>
                </a:cubicBezTo>
                <a:cubicBezTo>
                  <a:pt x="3250721" y="2778532"/>
                  <a:pt x="3235333" y="2789919"/>
                  <a:pt x="3223261" y="2804426"/>
                </a:cubicBezTo>
                <a:lnTo>
                  <a:pt x="3223261" y="2763453"/>
                </a:lnTo>
                <a:lnTo>
                  <a:pt x="3151486" y="2763453"/>
                </a:lnTo>
                <a:lnTo>
                  <a:pt x="3151486" y="3085849"/>
                </a:lnTo>
                <a:lnTo>
                  <a:pt x="3226252" y="3085849"/>
                </a:lnTo>
                <a:lnTo>
                  <a:pt x="3226252" y="2922259"/>
                </a:lnTo>
                <a:cubicBezTo>
                  <a:pt x="3224480" y="2896274"/>
                  <a:pt x="3232598" y="2870580"/>
                  <a:pt x="3248982" y="2850333"/>
                </a:cubicBezTo>
                <a:cubicBezTo>
                  <a:pt x="3264689" y="2833701"/>
                  <a:pt x="3286837" y="2824701"/>
                  <a:pt x="3309692" y="2825660"/>
                </a:cubicBezTo>
                <a:cubicBezTo>
                  <a:pt x="3329891" y="2824350"/>
                  <a:pt x="3349608" y="2832203"/>
                  <a:pt x="3363376" y="2847043"/>
                </a:cubicBezTo>
                <a:cubicBezTo>
                  <a:pt x="3377068" y="2865335"/>
                  <a:pt x="3383705" y="2887954"/>
                  <a:pt x="3382068" y="2910744"/>
                </a:cubicBezTo>
                <a:lnTo>
                  <a:pt x="3382068" y="3085849"/>
                </a:lnTo>
                <a:lnTo>
                  <a:pt x="3458330" y="3085849"/>
                </a:lnTo>
                <a:lnTo>
                  <a:pt x="3458330" y="2922259"/>
                </a:lnTo>
                <a:cubicBezTo>
                  <a:pt x="3456572" y="2896367"/>
                  <a:pt x="3464695" y="2870773"/>
                  <a:pt x="3481059" y="2850632"/>
                </a:cubicBezTo>
                <a:cubicBezTo>
                  <a:pt x="3496816" y="2833860"/>
                  <a:pt x="3519075" y="2824749"/>
                  <a:pt x="3542069" y="2825660"/>
                </a:cubicBezTo>
                <a:cubicBezTo>
                  <a:pt x="3562312" y="2824348"/>
                  <a:pt x="3582075" y="2832197"/>
                  <a:pt x="3595901" y="2847043"/>
                </a:cubicBezTo>
                <a:cubicBezTo>
                  <a:pt x="3609594" y="2865335"/>
                  <a:pt x="3616231" y="2887954"/>
                  <a:pt x="3614592" y="2910744"/>
                </a:cubicBezTo>
                <a:lnTo>
                  <a:pt x="3614592" y="3085849"/>
                </a:lnTo>
                <a:lnTo>
                  <a:pt x="3689359" y="3085849"/>
                </a:lnTo>
                <a:lnTo>
                  <a:pt x="3689359" y="2901025"/>
                </a:lnTo>
                <a:cubicBezTo>
                  <a:pt x="3689359" y="2853872"/>
                  <a:pt x="3677498" y="2818582"/>
                  <a:pt x="3653770" y="2795155"/>
                </a:cubicBezTo>
                <a:lnTo>
                  <a:pt x="3654219" y="2795155"/>
                </a:lnTo>
                <a:cubicBezTo>
                  <a:pt x="3628186" y="2770700"/>
                  <a:pt x="3593288" y="2757949"/>
                  <a:pt x="3557621" y="2759864"/>
                </a:cubicBezTo>
                <a:cubicBezTo>
                  <a:pt x="3533755" y="2759547"/>
                  <a:pt x="3510097" y="2764340"/>
                  <a:pt x="3488237" y="2773921"/>
                </a:cubicBezTo>
                <a:cubicBezTo>
                  <a:pt x="3468221" y="2782775"/>
                  <a:pt x="3450667" y="2796376"/>
                  <a:pt x="3437095" y="2813547"/>
                </a:cubicBezTo>
                <a:cubicBezTo>
                  <a:pt x="3426409" y="2796032"/>
                  <a:pt x="3410808" y="2782043"/>
                  <a:pt x="3392235" y="2773323"/>
                </a:cubicBezTo>
                <a:cubicBezTo>
                  <a:pt x="3372091" y="2764048"/>
                  <a:pt x="3350108" y="2759447"/>
                  <a:pt x="3327936" y="2759864"/>
                </a:cubicBezTo>
                <a:close/>
                <a:moveTo>
                  <a:pt x="2882175" y="2759715"/>
                </a:moveTo>
                <a:cubicBezTo>
                  <a:pt x="2851453" y="2759301"/>
                  <a:pt x="2821119" y="2766601"/>
                  <a:pt x="2793950" y="2780949"/>
                </a:cubicBezTo>
                <a:cubicBezTo>
                  <a:pt x="2768509" y="2794408"/>
                  <a:pt x="2747291" y="2814643"/>
                  <a:pt x="2732641" y="2839417"/>
                </a:cubicBezTo>
                <a:cubicBezTo>
                  <a:pt x="2703345" y="2892516"/>
                  <a:pt x="2703345" y="2956936"/>
                  <a:pt x="2732641" y="3010035"/>
                </a:cubicBezTo>
                <a:cubicBezTo>
                  <a:pt x="2747182" y="3035007"/>
                  <a:pt x="2768418" y="3055416"/>
                  <a:pt x="2793950" y="3068952"/>
                </a:cubicBezTo>
                <a:cubicBezTo>
                  <a:pt x="2821132" y="3083247"/>
                  <a:pt x="2851466" y="3090496"/>
                  <a:pt x="2882175" y="3090036"/>
                </a:cubicBezTo>
                <a:cubicBezTo>
                  <a:pt x="2913033" y="3090552"/>
                  <a:pt x="2943526" y="3083302"/>
                  <a:pt x="2970849" y="3068952"/>
                </a:cubicBezTo>
                <a:cubicBezTo>
                  <a:pt x="2996409" y="3055455"/>
                  <a:pt x="3017654" y="3035037"/>
                  <a:pt x="3032158" y="3010035"/>
                </a:cubicBezTo>
                <a:cubicBezTo>
                  <a:pt x="3061653" y="2956986"/>
                  <a:pt x="3061653" y="2892465"/>
                  <a:pt x="3032158" y="2839417"/>
                </a:cubicBezTo>
                <a:cubicBezTo>
                  <a:pt x="3017551" y="2814609"/>
                  <a:pt x="2996320" y="2794363"/>
                  <a:pt x="2970849" y="2780949"/>
                </a:cubicBezTo>
                <a:cubicBezTo>
                  <a:pt x="2943536" y="2766551"/>
                  <a:pt x="2913045" y="2759251"/>
                  <a:pt x="2882175" y="2759715"/>
                </a:cubicBezTo>
                <a:close/>
                <a:moveTo>
                  <a:pt x="3921884" y="2325467"/>
                </a:moveTo>
                <a:lnTo>
                  <a:pt x="3921884" y="2325617"/>
                </a:lnTo>
                <a:cubicBezTo>
                  <a:pt x="3913626" y="2325617"/>
                  <a:pt x="3906931" y="2332311"/>
                  <a:pt x="3906931" y="2340570"/>
                </a:cubicBezTo>
                <a:lnTo>
                  <a:pt x="3906931" y="2500572"/>
                </a:lnTo>
                <a:cubicBezTo>
                  <a:pt x="3906931" y="2508830"/>
                  <a:pt x="3913626" y="2515525"/>
                  <a:pt x="3921884" y="2515525"/>
                </a:cubicBezTo>
                <a:cubicBezTo>
                  <a:pt x="3930143" y="2515525"/>
                  <a:pt x="3936838" y="2508830"/>
                  <a:pt x="3936838" y="2500572"/>
                </a:cubicBezTo>
                <a:lnTo>
                  <a:pt x="3936838" y="2340420"/>
                </a:lnTo>
                <a:cubicBezTo>
                  <a:pt x="3936838" y="2332162"/>
                  <a:pt x="3930143" y="2325467"/>
                  <a:pt x="3921884" y="2325467"/>
                </a:cubicBezTo>
                <a:close/>
                <a:moveTo>
                  <a:pt x="3706853" y="2325467"/>
                </a:moveTo>
                <a:lnTo>
                  <a:pt x="3706853" y="2325617"/>
                </a:lnTo>
                <a:cubicBezTo>
                  <a:pt x="3698595" y="2325617"/>
                  <a:pt x="3691900" y="2332311"/>
                  <a:pt x="3691900" y="2340570"/>
                </a:cubicBezTo>
                <a:lnTo>
                  <a:pt x="3691900" y="2500572"/>
                </a:lnTo>
                <a:cubicBezTo>
                  <a:pt x="3691900" y="2508830"/>
                  <a:pt x="3698595" y="2515525"/>
                  <a:pt x="3706853" y="2515525"/>
                </a:cubicBezTo>
                <a:cubicBezTo>
                  <a:pt x="3715112" y="2515525"/>
                  <a:pt x="3721807" y="2508830"/>
                  <a:pt x="3721807" y="2500572"/>
                </a:cubicBezTo>
                <a:lnTo>
                  <a:pt x="3721807" y="2340420"/>
                </a:lnTo>
                <a:cubicBezTo>
                  <a:pt x="3721807" y="2332162"/>
                  <a:pt x="3715112" y="2325467"/>
                  <a:pt x="3706853" y="2325467"/>
                </a:cubicBezTo>
                <a:close/>
                <a:moveTo>
                  <a:pt x="4067530" y="2246663"/>
                </a:moveTo>
                <a:lnTo>
                  <a:pt x="4067530" y="2246813"/>
                </a:lnTo>
                <a:cubicBezTo>
                  <a:pt x="4059272" y="2246813"/>
                  <a:pt x="4052577" y="2253507"/>
                  <a:pt x="4052577" y="2261766"/>
                </a:cubicBezTo>
                <a:lnTo>
                  <a:pt x="4052577" y="2325318"/>
                </a:lnTo>
                <a:cubicBezTo>
                  <a:pt x="4052577" y="2333577"/>
                  <a:pt x="4059272" y="2340271"/>
                  <a:pt x="4067530" y="2340271"/>
                </a:cubicBezTo>
                <a:cubicBezTo>
                  <a:pt x="4075789" y="2340271"/>
                  <a:pt x="4082484" y="2333577"/>
                  <a:pt x="4082484" y="2325318"/>
                </a:cubicBezTo>
                <a:lnTo>
                  <a:pt x="4082484" y="2261616"/>
                </a:lnTo>
                <a:cubicBezTo>
                  <a:pt x="4082484" y="2253358"/>
                  <a:pt x="4075789" y="2246663"/>
                  <a:pt x="4067530" y="2246663"/>
                </a:cubicBezTo>
                <a:close/>
                <a:moveTo>
                  <a:pt x="3561506" y="2246663"/>
                </a:moveTo>
                <a:lnTo>
                  <a:pt x="3561506" y="2246813"/>
                </a:lnTo>
                <a:cubicBezTo>
                  <a:pt x="3553249" y="2246813"/>
                  <a:pt x="3546554" y="2253507"/>
                  <a:pt x="3546554" y="2261766"/>
                </a:cubicBezTo>
                <a:lnTo>
                  <a:pt x="3546554" y="2325318"/>
                </a:lnTo>
                <a:cubicBezTo>
                  <a:pt x="3546554" y="2333577"/>
                  <a:pt x="3553249" y="2340271"/>
                  <a:pt x="3561506" y="2340271"/>
                </a:cubicBezTo>
                <a:cubicBezTo>
                  <a:pt x="3569766" y="2340271"/>
                  <a:pt x="3576461" y="2333577"/>
                  <a:pt x="3576461" y="2325318"/>
                </a:cubicBezTo>
                <a:lnTo>
                  <a:pt x="3576461" y="2261616"/>
                </a:lnTo>
                <a:cubicBezTo>
                  <a:pt x="3576461" y="2253358"/>
                  <a:pt x="3569766" y="2246663"/>
                  <a:pt x="3561506" y="2246663"/>
                </a:cubicBezTo>
                <a:close/>
                <a:moveTo>
                  <a:pt x="3621022" y="2059895"/>
                </a:moveTo>
                <a:cubicBezTo>
                  <a:pt x="3642247" y="2059895"/>
                  <a:pt x="3659453" y="2077101"/>
                  <a:pt x="3659453" y="2098325"/>
                </a:cubicBezTo>
                <a:cubicBezTo>
                  <a:pt x="3659453" y="2098374"/>
                  <a:pt x="3659453" y="2098425"/>
                  <a:pt x="3659453" y="2098474"/>
                </a:cubicBezTo>
                <a:cubicBezTo>
                  <a:pt x="3659453" y="2119615"/>
                  <a:pt x="3642315" y="2136755"/>
                  <a:pt x="3621171" y="2136755"/>
                </a:cubicBezTo>
                <a:cubicBezTo>
                  <a:pt x="3621122" y="2136755"/>
                  <a:pt x="3621071" y="2136755"/>
                  <a:pt x="3621022" y="2136755"/>
                </a:cubicBezTo>
                <a:cubicBezTo>
                  <a:pt x="3599798" y="2136755"/>
                  <a:pt x="3582592" y="2119550"/>
                  <a:pt x="3582592" y="2098325"/>
                </a:cubicBezTo>
                <a:cubicBezTo>
                  <a:pt x="3582592" y="2077101"/>
                  <a:pt x="3599799" y="2059895"/>
                  <a:pt x="3621022" y="2059895"/>
                </a:cubicBezTo>
                <a:close/>
                <a:moveTo>
                  <a:pt x="4009362" y="2059895"/>
                </a:moveTo>
                <a:cubicBezTo>
                  <a:pt x="4030585" y="2059813"/>
                  <a:pt x="4047858" y="2076951"/>
                  <a:pt x="4047942" y="2098175"/>
                </a:cubicBezTo>
                <a:cubicBezTo>
                  <a:pt x="4048024" y="2119400"/>
                  <a:pt x="4030884" y="2136672"/>
                  <a:pt x="4009661" y="2136755"/>
                </a:cubicBezTo>
                <a:cubicBezTo>
                  <a:pt x="4009611" y="2136755"/>
                  <a:pt x="4009561" y="2136755"/>
                  <a:pt x="4009511" y="2136755"/>
                </a:cubicBezTo>
                <a:cubicBezTo>
                  <a:pt x="3988345" y="2136755"/>
                  <a:pt x="3971163" y="2119640"/>
                  <a:pt x="3971081" y="2098474"/>
                </a:cubicBezTo>
                <a:cubicBezTo>
                  <a:pt x="3970999" y="2077250"/>
                  <a:pt x="3988137" y="2059977"/>
                  <a:pt x="4009362" y="2059895"/>
                </a:cubicBezTo>
                <a:close/>
                <a:moveTo>
                  <a:pt x="3814518" y="2045689"/>
                </a:moveTo>
                <a:cubicBezTo>
                  <a:pt x="3852508" y="2045607"/>
                  <a:pt x="3883371" y="2076336"/>
                  <a:pt x="3883454" y="2114325"/>
                </a:cubicBezTo>
                <a:cubicBezTo>
                  <a:pt x="3883536" y="2152314"/>
                  <a:pt x="3852807" y="2183178"/>
                  <a:pt x="3814817" y="2183260"/>
                </a:cubicBezTo>
                <a:cubicBezTo>
                  <a:pt x="3776829" y="2183343"/>
                  <a:pt x="3745965" y="2152613"/>
                  <a:pt x="3745883" y="2114624"/>
                </a:cubicBezTo>
                <a:cubicBezTo>
                  <a:pt x="3745883" y="2114575"/>
                  <a:pt x="3745883" y="2114524"/>
                  <a:pt x="3745883" y="2114475"/>
                </a:cubicBezTo>
                <a:cubicBezTo>
                  <a:pt x="3745883" y="2076544"/>
                  <a:pt x="3776589" y="2045771"/>
                  <a:pt x="3814518" y="2045689"/>
                </a:cubicBezTo>
                <a:close/>
                <a:moveTo>
                  <a:pt x="3999786" y="2031436"/>
                </a:moveTo>
                <a:cubicBezTo>
                  <a:pt x="3982590" y="2033640"/>
                  <a:pt x="3966236" y="2042404"/>
                  <a:pt x="3954798" y="2057205"/>
                </a:cubicBezTo>
                <a:cubicBezTo>
                  <a:pt x="3931923" y="2086808"/>
                  <a:pt x="3937376" y="2129348"/>
                  <a:pt x="3966978" y="2152224"/>
                </a:cubicBezTo>
                <a:cubicBezTo>
                  <a:pt x="3978939" y="2161467"/>
                  <a:pt x="3993647" y="2166445"/>
                  <a:pt x="4008764" y="2166362"/>
                </a:cubicBezTo>
                <a:lnTo>
                  <a:pt x="4038670" y="2166362"/>
                </a:lnTo>
                <a:cubicBezTo>
                  <a:pt x="4075718" y="2166445"/>
                  <a:pt x="4105729" y="2196456"/>
                  <a:pt x="4105811" y="2233503"/>
                </a:cubicBezTo>
                <a:lnTo>
                  <a:pt x="4105811" y="2280756"/>
                </a:lnTo>
                <a:cubicBezTo>
                  <a:pt x="4105811" y="2289015"/>
                  <a:pt x="4112506" y="2295710"/>
                  <a:pt x="4120765" y="2295710"/>
                </a:cubicBezTo>
                <a:cubicBezTo>
                  <a:pt x="4129023" y="2295710"/>
                  <a:pt x="4135718" y="2289015"/>
                  <a:pt x="4135718" y="2280756"/>
                </a:cubicBezTo>
                <a:lnTo>
                  <a:pt x="4135718" y="2233503"/>
                </a:lnTo>
                <a:cubicBezTo>
                  <a:pt x="4135624" y="2189329"/>
                  <a:pt x="4105578" y="2150848"/>
                  <a:pt x="4062745" y="2140044"/>
                </a:cubicBezTo>
                <a:lnTo>
                  <a:pt x="4061998" y="2140044"/>
                </a:lnTo>
                <a:cubicBezTo>
                  <a:pt x="4084874" y="2110443"/>
                  <a:pt x="4079420" y="2067901"/>
                  <a:pt x="4049818" y="2045025"/>
                </a:cubicBezTo>
                <a:cubicBezTo>
                  <a:pt x="4035017" y="2033587"/>
                  <a:pt x="4016981" y="2029232"/>
                  <a:pt x="3999786" y="2031436"/>
                </a:cubicBezTo>
                <a:close/>
                <a:moveTo>
                  <a:pt x="3621022" y="2030437"/>
                </a:moveTo>
                <a:lnTo>
                  <a:pt x="3620275" y="2030736"/>
                </a:lnTo>
                <a:cubicBezTo>
                  <a:pt x="3582947" y="2030573"/>
                  <a:pt x="3552554" y="2060703"/>
                  <a:pt x="3552392" y="2098030"/>
                </a:cubicBezTo>
                <a:cubicBezTo>
                  <a:pt x="3552325" y="2113389"/>
                  <a:pt x="3557491" y="2128314"/>
                  <a:pt x="3567041" y="2140344"/>
                </a:cubicBezTo>
                <a:cubicBezTo>
                  <a:pt x="3524269" y="2151242"/>
                  <a:pt x="3494268" y="2189666"/>
                  <a:pt x="3494068" y="2233803"/>
                </a:cubicBezTo>
                <a:lnTo>
                  <a:pt x="3494068" y="2281056"/>
                </a:lnTo>
                <a:cubicBezTo>
                  <a:pt x="3494068" y="2289314"/>
                  <a:pt x="3500763" y="2296009"/>
                  <a:pt x="3509021" y="2296009"/>
                </a:cubicBezTo>
                <a:cubicBezTo>
                  <a:pt x="3517280" y="2296009"/>
                  <a:pt x="3523975" y="2289314"/>
                  <a:pt x="3523975" y="2281056"/>
                </a:cubicBezTo>
                <a:lnTo>
                  <a:pt x="3523975" y="2233504"/>
                </a:lnTo>
                <a:cubicBezTo>
                  <a:pt x="3523975" y="2196422"/>
                  <a:pt x="3554034" y="2166363"/>
                  <a:pt x="3591116" y="2166363"/>
                </a:cubicBezTo>
                <a:lnTo>
                  <a:pt x="3621022" y="2166363"/>
                </a:lnTo>
                <a:cubicBezTo>
                  <a:pt x="3658557" y="2168124"/>
                  <a:pt x="3690414" y="2139124"/>
                  <a:pt x="3692175" y="2101588"/>
                </a:cubicBezTo>
                <a:cubicBezTo>
                  <a:pt x="3693935" y="2064054"/>
                  <a:pt x="3664935" y="2032199"/>
                  <a:pt x="3627400" y="2030437"/>
                </a:cubicBezTo>
                <a:cubicBezTo>
                  <a:pt x="3625275" y="2030337"/>
                  <a:pt x="3623147" y="2030337"/>
                  <a:pt x="3621022" y="2030437"/>
                </a:cubicBezTo>
                <a:close/>
                <a:moveTo>
                  <a:pt x="3814369" y="2015483"/>
                </a:moveTo>
                <a:cubicBezTo>
                  <a:pt x="3760111" y="2015483"/>
                  <a:pt x="3716125" y="2059468"/>
                  <a:pt x="3716125" y="2113727"/>
                </a:cubicBezTo>
                <a:cubicBezTo>
                  <a:pt x="3716063" y="2140302"/>
                  <a:pt x="3726867" y="2165747"/>
                  <a:pt x="3746032" y="2184158"/>
                </a:cubicBezTo>
                <a:cubicBezTo>
                  <a:pt x="3676116" y="2195044"/>
                  <a:pt x="3624498" y="2255158"/>
                  <a:pt x="3624312" y="2325916"/>
                </a:cubicBezTo>
                <a:lnTo>
                  <a:pt x="3624312" y="2447487"/>
                </a:lnTo>
                <a:cubicBezTo>
                  <a:pt x="3624312" y="2455746"/>
                  <a:pt x="3631006" y="2462441"/>
                  <a:pt x="3639265" y="2462441"/>
                </a:cubicBezTo>
                <a:cubicBezTo>
                  <a:pt x="3647524" y="2462441"/>
                  <a:pt x="3654219" y="2455746"/>
                  <a:pt x="3654219" y="2447487"/>
                </a:cubicBezTo>
                <a:lnTo>
                  <a:pt x="3654219" y="2325916"/>
                </a:lnTo>
                <a:cubicBezTo>
                  <a:pt x="3654219" y="2262986"/>
                  <a:pt x="3705234" y="2211971"/>
                  <a:pt x="3768163" y="2211971"/>
                </a:cubicBezTo>
                <a:lnTo>
                  <a:pt x="3860575" y="2211971"/>
                </a:lnTo>
                <a:cubicBezTo>
                  <a:pt x="3923529" y="2211971"/>
                  <a:pt x="3974587" y="2262962"/>
                  <a:pt x="3974669" y="2325916"/>
                </a:cubicBezTo>
                <a:lnTo>
                  <a:pt x="3974669" y="2447487"/>
                </a:lnTo>
                <a:cubicBezTo>
                  <a:pt x="3974669" y="2455746"/>
                  <a:pt x="3981364" y="2462441"/>
                  <a:pt x="3989623" y="2462441"/>
                </a:cubicBezTo>
                <a:cubicBezTo>
                  <a:pt x="3997882" y="2462441"/>
                  <a:pt x="4004576" y="2455746"/>
                  <a:pt x="4004576" y="2447487"/>
                </a:cubicBezTo>
                <a:lnTo>
                  <a:pt x="4004576" y="2325916"/>
                </a:lnTo>
                <a:cubicBezTo>
                  <a:pt x="4004389" y="2255158"/>
                  <a:pt x="3952772" y="2195044"/>
                  <a:pt x="3882856" y="2184158"/>
                </a:cubicBezTo>
                <a:lnTo>
                  <a:pt x="3882706" y="2184158"/>
                </a:lnTo>
                <a:cubicBezTo>
                  <a:pt x="3901870" y="2165747"/>
                  <a:pt x="3912676" y="2140302"/>
                  <a:pt x="3912613" y="2113727"/>
                </a:cubicBezTo>
                <a:cubicBezTo>
                  <a:pt x="3912613" y="2059468"/>
                  <a:pt x="3868627" y="2015483"/>
                  <a:pt x="3814369" y="2015483"/>
                </a:cubicBezTo>
                <a:close/>
                <a:moveTo>
                  <a:pt x="3814220" y="1850548"/>
                </a:moveTo>
                <a:cubicBezTo>
                  <a:pt x="4014984" y="1850465"/>
                  <a:pt x="4177805" y="2013151"/>
                  <a:pt x="4177887" y="2213915"/>
                </a:cubicBezTo>
                <a:cubicBezTo>
                  <a:pt x="4177887" y="2213964"/>
                  <a:pt x="4177887" y="2214015"/>
                  <a:pt x="4177887" y="2214065"/>
                </a:cubicBezTo>
                <a:cubicBezTo>
                  <a:pt x="4177722" y="2414704"/>
                  <a:pt x="4015158" y="2577336"/>
                  <a:pt x="3814519" y="2577582"/>
                </a:cubicBezTo>
                <a:cubicBezTo>
                  <a:pt x="3613755" y="2577665"/>
                  <a:pt x="3450935" y="2414979"/>
                  <a:pt x="3450853" y="2214214"/>
                </a:cubicBezTo>
                <a:cubicBezTo>
                  <a:pt x="3450771" y="2013451"/>
                  <a:pt x="3613456" y="1850631"/>
                  <a:pt x="3814220" y="1850548"/>
                </a:cubicBezTo>
                <a:close/>
                <a:moveTo>
                  <a:pt x="3814519" y="1791482"/>
                </a:moveTo>
                <a:cubicBezTo>
                  <a:pt x="3581465" y="1791009"/>
                  <a:pt x="3392152" y="1979556"/>
                  <a:pt x="3391679" y="2212610"/>
                </a:cubicBezTo>
                <a:cubicBezTo>
                  <a:pt x="3391497" y="2302604"/>
                  <a:pt x="3420091" y="2390298"/>
                  <a:pt x="3473283" y="2462890"/>
                </a:cubicBezTo>
                <a:lnTo>
                  <a:pt x="3338702" y="2585209"/>
                </a:lnTo>
                <a:cubicBezTo>
                  <a:pt x="3325443" y="2595058"/>
                  <a:pt x="3322680" y="2613792"/>
                  <a:pt x="3332530" y="2627051"/>
                </a:cubicBezTo>
                <a:cubicBezTo>
                  <a:pt x="3342381" y="2640309"/>
                  <a:pt x="3361113" y="2643072"/>
                  <a:pt x="3374372" y="2633223"/>
                </a:cubicBezTo>
                <a:cubicBezTo>
                  <a:pt x="3376092" y="2631946"/>
                  <a:pt x="3377669" y="2630488"/>
                  <a:pt x="3379077" y="2628873"/>
                </a:cubicBezTo>
                <a:lnTo>
                  <a:pt x="3511713" y="2508199"/>
                </a:lnTo>
                <a:cubicBezTo>
                  <a:pt x="3674242" y="2675577"/>
                  <a:pt x="3941681" y="2679508"/>
                  <a:pt x="4109059" y="2516979"/>
                </a:cubicBezTo>
                <a:cubicBezTo>
                  <a:pt x="4276430" y="2354450"/>
                  <a:pt x="4280363" y="2087011"/>
                  <a:pt x="4117840" y="1919633"/>
                </a:cubicBezTo>
                <a:cubicBezTo>
                  <a:pt x="4038230" y="1837646"/>
                  <a:pt x="3928797" y="1791412"/>
                  <a:pt x="3814519" y="1791482"/>
                </a:cubicBezTo>
                <a:close/>
                <a:moveTo>
                  <a:pt x="0" y="0"/>
                </a:moveTo>
                <a:lnTo>
                  <a:pt x="7559666" y="0"/>
                </a:lnTo>
                <a:lnTo>
                  <a:pt x="7559666" y="5345894"/>
                </a:lnTo>
                <a:lnTo>
                  <a:pt x="0" y="534589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Click </a:t>
            </a:r>
            <a:r>
              <a:rPr lang="fr-FR" noProof="0" dirty="0" err="1"/>
              <a:t>icon</a:t>
            </a:r>
            <a:r>
              <a:rPr lang="fr-FR" noProof="0" dirty="0"/>
              <a:t> to </a:t>
            </a:r>
            <a:r>
              <a:rPr lang="fr-FR" noProof="0" dirty="0" err="1"/>
              <a:t>add</a:t>
            </a:r>
            <a:r>
              <a:rPr lang="fr-FR" noProof="0" dirty="0"/>
              <a:t> </a:t>
            </a:r>
            <a:r>
              <a:rPr lang="fr-FR" noProof="0" dirty="0" err="1"/>
              <a:t>picture</a:t>
            </a:r>
            <a:endParaRPr lang="fr-FR" noProof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7702FD7-4435-BFAB-0990-B2ECE1A1B3D1}"/>
              </a:ext>
            </a:extLst>
          </p:cNvPr>
          <p:cNvSpPr/>
          <p:nvPr userDrawn="1"/>
        </p:nvSpPr>
        <p:spPr>
          <a:xfrm>
            <a:off x="0" y="9949266"/>
            <a:ext cx="7559675" cy="7559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b="1" noProof="0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9D1FAF2-39E9-9C6A-2E61-467B1C7600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6205" t="-25526" r="-6205" b="-25526"/>
          <a:stretch/>
        </p:blipFill>
        <p:spPr>
          <a:xfrm>
            <a:off x="607121" y="10183261"/>
            <a:ext cx="288000" cy="288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36DCB4E-B18D-46DF-B938-56A78A2E9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14853" t="-14853" r="-14853" b="-14853"/>
          <a:stretch/>
        </p:blipFill>
        <p:spPr>
          <a:xfrm>
            <a:off x="4011398" y="10183261"/>
            <a:ext cx="288000" cy="288000"/>
          </a:xfrm>
          <a:prstGeom prst="rect">
            <a:avLst/>
          </a:prstGeom>
        </p:spPr>
      </p:pic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26888ED-9561-B010-00CF-10685DC64B2E}"/>
              </a:ext>
            </a:extLst>
          </p:cNvPr>
          <p:cNvSpPr txBox="1">
            <a:spLocks/>
          </p:cNvSpPr>
          <p:nvPr userDrawn="1"/>
        </p:nvSpPr>
        <p:spPr>
          <a:xfrm>
            <a:off x="4417897" y="10250317"/>
            <a:ext cx="2345973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000" noProof="0" dirty="0">
                <a:solidFill>
                  <a:schemeClr val="bg2"/>
                </a:solidFill>
              </a:rPr>
              <a:t>www.metierscomptabilite.f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0725BCC-B186-E39C-DD69-0693268063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66856" y="5345906"/>
            <a:ext cx="1148307" cy="185598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BC5DA466-1A4D-541D-D3A6-4F45DE897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5586" t="68536" r="34757"/>
          <a:stretch/>
        </p:blipFill>
        <p:spPr>
          <a:xfrm flipH="1">
            <a:off x="-1" y="4917079"/>
            <a:ext cx="3779837" cy="35149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1628AA9-1E86-8E00-D5A5-7A8A51A8F0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15586" r="34757" b="31464"/>
          <a:stretch/>
        </p:blipFill>
        <p:spPr>
          <a:xfrm flipH="1">
            <a:off x="-1" y="5411547"/>
            <a:ext cx="3779837" cy="7656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920B85-A799-227D-6791-EECE551ED00D}"/>
              </a:ext>
            </a:extLst>
          </p:cNvPr>
          <p:cNvCxnSpPr>
            <a:cxnSpLocks/>
          </p:cNvCxnSpPr>
          <p:nvPr userDrawn="1"/>
        </p:nvCxnSpPr>
        <p:spPr>
          <a:xfrm>
            <a:off x="668492" y="8018859"/>
            <a:ext cx="622269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D75646B-E2C1-9591-55FA-BFCFDB37E730}"/>
              </a:ext>
            </a:extLst>
          </p:cNvPr>
          <p:cNvGrpSpPr/>
          <p:nvPr userDrawn="1"/>
        </p:nvGrpSpPr>
        <p:grpSpPr>
          <a:xfrm>
            <a:off x="2710677" y="1790699"/>
            <a:ext cx="2145356" cy="1767176"/>
            <a:chOff x="2710677" y="1790699"/>
            <a:chExt cx="2145356" cy="1767176"/>
          </a:xfrm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14A9B4CA-E17C-CCC2-7BFA-FF73470F6DAC}"/>
                </a:ext>
              </a:extLst>
            </p:cNvPr>
            <p:cNvGrpSpPr/>
            <p:nvPr/>
          </p:nvGrpSpPr>
          <p:grpSpPr>
            <a:xfrm>
              <a:off x="2710677" y="1790699"/>
              <a:ext cx="2145356" cy="1767176"/>
              <a:chOff x="2710677" y="1790699"/>
              <a:chExt cx="2145356" cy="1767176"/>
            </a:xfrm>
            <a:solidFill>
              <a:srgbClr val="FFFFFF"/>
            </a:solidFill>
          </p:grpSpPr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5CFF0912-0FBD-D8A8-CE1A-A1006CBE384E}"/>
                  </a:ext>
                </a:extLst>
              </p:cNvPr>
              <p:cNvSpPr/>
              <p:nvPr/>
            </p:nvSpPr>
            <p:spPr>
              <a:xfrm>
                <a:off x="2710698" y="3207536"/>
                <a:ext cx="59786" cy="58318"/>
              </a:xfrm>
              <a:custGeom>
                <a:avLst/>
                <a:gdLst>
                  <a:gd name="connsiteX0" fmla="*/ 14923 w 59786"/>
                  <a:gd name="connsiteY0" fmla="*/ 54730 h 58318"/>
                  <a:gd name="connsiteX1" fmla="*/ 4007 w 59786"/>
                  <a:gd name="connsiteY1" fmla="*/ 44262 h 58318"/>
                  <a:gd name="connsiteX2" fmla="*/ 4007 w 59786"/>
                  <a:gd name="connsiteY2" fmla="*/ 14355 h 58318"/>
                  <a:gd name="connsiteX3" fmla="*/ 14923 w 59786"/>
                  <a:gd name="connsiteY3" fmla="*/ 3738 h 58318"/>
                  <a:gd name="connsiteX4" fmla="*/ 29876 w 59786"/>
                  <a:gd name="connsiteY4" fmla="*/ 0 h 58318"/>
                  <a:gd name="connsiteX5" fmla="*/ 44830 w 59786"/>
                  <a:gd name="connsiteY5" fmla="*/ 3738 h 58318"/>
                  <a:gd name="connsiteX6" fmla="*/ 55746 w 59786"/>
                  <a:gd name="connsiteY6" fmla="*/ 14206 h 58318"/>
                  <a:gd name="connsiteX7" fmla="*/ 59783 w 59786"/>
                  <a:gd name="connsiteY7" fmla="*/ 29159 h 58318"/>
                  <a:gd name="connsiteX8" fmla="*/ 55746 w 59786"/>
                  <a:gd name="connsiteY8" fmla="*/ 44113 h 58318"/>
                  <a:gd name="connsiteX9" fmla="*/ 44830 w 59786"/>
                  <a:gd name="connsiteY9" fmla="*/ 54580 h 58318"/>
                  <a:gd name="connsiteX10" fmla="*/ 29876 w 59786"/>
                  <a:gd name="connsiteY10" fmla="*/ 58318 h 58318"/>
                  <a:gd name="connsiteX11" fmla="*/ 14923 w 59786"/>
                  <a:gd name="connsiteY11" fmla="*/ 54580 h 58318"/>
                  <a:gd name="connsiteX12" fmla="*/ 40792 w 59786"/>
                  <a:gd name="connsiteY12" fmla="*/ 46505 h 58318"/>
                  <a:gd name="connsiteX13" fmla="*/ 47820 w 59786"/>
                  <a:gd name="connsiteY13" fmla="*/ 39477 h 58318"/>
                  <a:gd name="connsiteX14" fmla="*/ 50512 w 59786"/>
                  <a:gd name="connsiteY14" fmla="*/ 29159 h 58318"/>
                  <a:gd name="connsiteX15" fmla="*/ 47820 w 59786"/>
                  <a:gd name="connsiteY15" fmla="*/ 18692 h 58318"/>
                  <a:gd name="connsiteX16" fmla="*/ 40792 w 59786"/>
                  <a:gd name="connsiteY16" fmla="*/ 11514 h 58318"/>
                  <a:gd name="connsiteX17" fmla="*/ 29876 w 59786"/>
                  <a:gd name="connsiteY17" fmla="*/ 9421 h 58318"/>
                  <a:gd name="connsiteX18" fmla="*/ 19708 w 59786"/>
                  <a:gd name="connsiteY18" fmla="*/ 11963 h 58318"/>
                  <a:gd name="connsiteX19" fmla="*/ 13128 w 59786"/>
                  <a:gd name="connsiteY19" fmla="*/ 18692 h 58318"/>
                  <a:gd name="connsiteX20" fmla="*/ 10586 w 59786"/>
                  <a:gd name="connsiteY20" fmla="*/ 28860 h 58318"/>
                  <a:gd name="connsiteX21" fmla="*/ 13128 w 59786"/>
                  <a:gd name="connsiteY21" fmla="*/ 39178 h 58318"/>
                  <a:gd name="connsiteX22" fmla="*/ 20306 w 59786"/>
                  <a:gd name="connsiteY22" fmla="*/ 46206 h 58318"/>
                  <a:gd name="connsiteX23" fmla="*/ 29876 w 59786"/>
                  <a:gd name="connsiteY23" fmla="*/ 48599 h 58318"/>
                  <a:gd name="connsiteX24" fmla="*/ 40194 w 59786"/>
                  <a:gd name="connsiteY24" fmla="*/ 46057 h 5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9786" h="58318">
                    <a:moveTo>
                      <a:pt x="14923" y="54730"/>
                    </a:moveTo>
                    <a:cubicBezTo>
                      <a:pt x="10368" y="52341"/>
                      <a:pt x="6583" y="48712"/>
                      <a:pt x="4007" y="44262"/>
                    </a:cubicBezTo>
                    <a:cubicBezTo>
                      <a:pt x="-1336" y="35009"/>
                      <a:pt x="-1336" y="23608"/>
                      <a:pt x="4007" y="14355"/>
                    </a:cubicBezTo>
                    <a:cubicBezTo>
                      <a:pt x="6561" y="9850"/>
                      <a:pt x="10348" y="6167"/>
                      <a:pt x="14923" y="3738"/>
                    </a:cubicBezTo>
                    <a:cubicBezTo>
                      <a:pt x="19526" y="1287"/>
                      <a:pt x="24661" y="3"/>
                      <a:pt x="29876" y="0"/>
                    </a:cubicBezTo>
                    <a:cubicBezTo>
                      <a:pt x="35091" y="9"/>
                      <a:pt x="40224" y="1292"/>
                      <a:pt x="44830" y="3738"/>
                    </a:cubicBezTo>
                    <a:cubicBezTo>
                      <a:pt x="49384" y="6126"/>
                      <a:pt x="53169" y="9756"/>
                      <a:pt x="55746" y="14206"/>
                    </a:cubicBezTo>
                    <a:cubicBezTo>
                      <a:pt x="58450" y="18720"/>
                      <a:pt x="59848" y="23897"/>
                      <a:pt x="59783" y="29159"/>
                    </a:cubicBezTo>
                    <a:cubicBezTo>
                      <a:pt x="59872" y="34424"/>
                      <a:pt x="58472" y="39607"/>
                      <a:pt x="55746" y="44113"/>
                    </a:cubicBezTo>
                    <a:cubicBezTo>
                      <a:pt x="53169" y="48563"/>
                      <a:pt x="49384" y="52192"/>
                      <a:pt x="44830" y="54580"/>
                    </a:cubicBezTo>
                    <a:cubicBezTo>
                      <a:pt x="40224" y="57026"/>
                      <a:pt x="35091" y="58309"/>
                      <a:pt x="29876" y="58318"/>
                    </a:cubicBezTo>
                    <a:cubicBezTo>
                      <a:pt x="24661" y="58315"/>
                      <a:pt x="19526" y="57031"/>
                      <a:pt x="14923" y="54580"/>
                    </a:cubicBezTo>
                    <a:moveTo>
                      <a:pt x="40792" y="46505"/>
                    </a:moveTo>
                    <a:cubicBezTo>
                      <a:pt x="43760" y="44884"/>
                      <a:pt x="46199" y="42445"/>
                      <a:pt x="47820" y="39477"/>
                    </a:cubicBezTo>
                    <a:cubicBezTo>
                      <a:pt x="49633" y="36344"/>
                      <a:pt x="50563" y="32778"/>
                      <a:pt x="50512" y="29159"/>
                    </a:cubicBezTo>
                    <a:cubicBezTo>
                      <a:pt x="50622" y="25485"/>
                      <a:pt x="49689" y="21856"/>
                      <a:pt x="47820" y="18692"/>
                    </a:cubicBezTo>
                    <a:cubicBezTo>
                      <a:pt x="46244" y="15653"/>
                      <a:pt x="43797" y="13155"/>
                      <a:pt x="40792" y="11514"/>
                    </a:cubicBezTo>
                    <a:cubicBezTo>
                      <a:pt x="37426" y="9793"/>
                      <a:pt x="33640" y="9066"/>
                      <a:pt x="29876" y="9421"/>
                    </a:cubicBezTo>
                    <a:cubicBezTo>
                      <a:pt x="26318" y="9320"/>
                      <a:pt x="22801" y="10200"/>
                      <a:pt x="19708" y="11963"/>
                    </a:cubicBezTo>
                    <a:cubicBezTo>
                      <a:pt x="16968" y="13597"/>
                      <a:pt x="14701" y="15916"/>
                      <a:pt x="13128" y="18692"/>
                    </a:cubicBezTo>
                    <a:cubicBezTo>
                      <a:pt x="11432" y="21811"/>
                      <a:pt x="10558" y="25310"/>
                      <a:pt x="10586" y="28860"/>
                    </a:cubicBezTo>
                    <a:cubicBezTo>
                      <a:pt x="10558" y="32458"/>
                      <a:pt x="11432" y="36005"/>
                      <a:pt x="13128" y="39178"/>
                    </a:cubicBezTo>
                    <a:cubicBezTo>
                      <a:pt x="14847" y="42122"/>
                      <a:pt x="17326" y="44551"/>
                      <a:pt x="20306" y="46206"/>
                    </a:cubicBezTo>
                    <a:cubicBezTo>
                      <a:pt x="23237" y="47814"/>
                      <a:pt x="26533" y="48638"/>
                      <a:pt x="29876" y="48599"/>
                    </a:cubicBezTo>
                    <a:cubicBezTo>
                      <a:pt x="33482" y="48703"/>
                      <a:pt x="37049" y="47824"/>
                      <a:pt x="40194" y="46057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C73A8FF2-0721-C12A-82FF-5F8F42F2013A}"/>
                  </a:ext>
                </a:extLst>
              </p:cNvPr>
              <p:cNvSpPr/>
              <p:nvPr/>
            </p:nvSpPr>
            <p:spPr>
              <a:xfrm>
                <a:off x="2821921" y="3208708"/>
                <a:ext cx="50403" cy="56907"/>
              </a:xfrm>
              <a:custGeom>
                <a:avLst/>
                <a:gdLst>
                  <a:gd name="connsiteX0" fmla="*/ 47701 w 50403"/>
                  <a:gd name="connsiteY0" fmla="*/ 32474 h 56907"/>
                  <a:gd name="connsiteX1" fmla="*/ 50393 w 50403"/>
                  <a:gd name="connsiteY1" fmla="*/ 41446 h 56907"/>
                  <a:gd name="connsiteX2" fmla="*/ 44711 w 50403"/>
                  <a:gd name="connsiteY2" fmla="*/ 52810 h 56907"/>
                  <a:gd name="connsiteX3" fmla="*/ 28262 w 50403"/>
                  <a:gd name="connsiteY3" fmla="*/ 56848 h 56907"/>
                  <a:gd name="connsiteX4" fmla="*/ 0 w 50403"/>
                  <a:gd name="connsiteY4" fmla="*/ 56848 h 56907"/>
                  <a:gd name="connsiteX5" fmla="*/ 0 w 50403"/>
                  <a:gd name="connsiteY5" fmla="*/ 25 h 56907"/>
                  <a:gd name="connsiteX6" fmla="*/ 26617 w 50403"/>
                  <a:gd name="connsiteY6" fmla="*/ 25 h 56907"/>
                  <a:gd name="connsiteX7" fmla="*/ 41570 w 50403"/>
                  <a:gd name="connsiteY7" fmla="*/ 4062 h 56907"/>
                  <a:gd name="connsiteX8" fmla="*/ 47103 w 50403"/>
                  <a:gd name="connsiteY8" fmla="*/ 14828 h 56907"/>
                  <a:gd name="connsiteX9" fmla="*/ 45159 w 50403"/>
                  <a:gd name="connsiteY9" fmla="*/ 22305 h 56907"/>
                  <a:gd name="connsiteX10" fmla="*/ 39776 w 50403"/>
                  <a:gd name="connsiteY10" fmla="*/ 27389 h 56907"/>
                  <a:gd name="connsiteX11" fmla="*/ 47253 w 50403"/>
                  <a:gd name="connsiteY11" fmla="*/ 32474 h 56907"/>
                  <a:gd name="connsiteX12" fmla="*/ 10467 w 50403"/>
                  <a:gd name="connsiteY12" fmla="*/ 8099 h 56907"/>
                  <a:gd name="connsiteX13" fmla="*/ 10467 w 50403"/>
                  <a:gd name="connsiteY13" fmla="*/ 23053 h 56907"/>
                  <a:gd name="connsiteX14" fmla="*/ 25421 w 50403"/>
                  <a:gd name="connsiteY14" fmla="*/ 23053 h 56907"/>
                  <a:gd name="connsiteX15" fmla="*/ 33944 w 50403"/>
                  <a:gd name="connsiteY15" fmla="*/ 21109 h 56907"/>
                  <a:gd name="connsiteX16" fmla="*/ 35592 w 50403"/>
                  <a:gd name="connsiteY16" fmla="*/ 11093 h 56907"/>
                  <a:gd name="connsiteX17" fmla="*/ 33944 w 50403"/>
                  <a:gd name="connsiteY17" fmla="*/ 9445 h 56907"/>
                  <a:gd name="connsiteX18" fmla="*/ 25421 w 50403"/>
                  <a:gd name="connsiteY18" fmla="*/ 7501 h 56907"/>
                  <a:gd name="connsiteX19" fmla="*/ 40374 w 50403"/>
                  <a:gd name="connsiteY19" fmla="*/ 40100 h 56907"/>
                  <a:gd name="connsiteX20" fmla="*/ 28112 w 50403"/>
                  <a:gd name="connsiteY20" fmla="*/ 31875 h 56907"/>
                  <a:gd name="connsiteX21" fmla="*/ 10467 w 50403"/>
                  <a:gd name="connsiteY21" fmla="*/ 31875 h 56907"/>
                  <a:gd name="connsiteX22" fmla="*/ 10467 w 50403"/>
                  <a:gd name="connsiteY22" fmla="*/ 48324 h 56907"/>
                  <a:gd name="connsiteX23" fmla="*/ 27514 w 50403"/>
                  <a:gd name="connsiteY23" fmla="*/ 48324 h 56907"/>
                  <a:gd name="connsiteX24" fmla="*/ 39776 w 50403"/>
                  <a:gd name="connsiteY24" fmla="*/ 40100 h 56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0403" h="56907">
                    <a:moveTo>
                      <a:pt x="47701" y="32474"/>
                    </a:moveTo>
                    <a:cubicBezTo>
                      <a:pt x="49536" y="35099"/>
                      <a:pt x="50480" y="38244"/>
                      <a:pt x="50393" y="41446"/>
                    </a:cubicBezTo>
                    <a:cubicBezTo>
                      <a:pt x="50574" y="45959"/>
                      <a:pt x="48430" y="50249"/>
                      <a:pt x="44711" y="52810"/>
                    </a:cubicBezTo>
                    <a:cubicBezTo>
                      <a:pt x="39773" y="55814"/>
                      <a:pt x="34029" y="57224"/>
                      <a:pt x="28262" y="56848"/>
                    </a:cubicBezTo>
                    <a:lnTo>
                      <a:pt x="0" y="56848"/>
                    </a:lnTo>
                    <a:lnTo>
                      <a:pt x="0" y="25"/>
                    </a:lnTo>
                    <a:lnTo>
                      <a:pt x="26617" y="25"/>
                    </a:lnTo>
                    <a:cubicBezTo>
                      <a:pt x="31899" y="-207"/>
                      <a:pt x="37123" y="1203"/>
                      <a:pt x="41570" y="4062"/>
                    </a:cubicBezTo>
                    <a:cubicBezTo>
                      <a:pt x="45114" y="6486"/>
                      <a:pt x="47196" y="10535"/>
                      <a:pt x="47103" y="14828"/>
                    </a:cubicBezTo>
                    <a:cubicBezTo>
                      <a:pt x="47121" y="17448"/>
                      <a:pt x="46451" y="20026"/>
                      <a:pt x="45159" y="22305"/>
                    </a:cubicBezTo>
                    <a:cubicBezTo>
                      <a:pt x="43819" y="24424"/>
                      <a:pt x="41968" y="26172"/>
                      <a:pt x="39776" y="27389"/>
                    </a:cubicBezTo>
                    <a:cubicBezTo>
                      <a:pt x="42734" y="28272"/>
                      <a:pt x="45345" y="30048"/>
                      <a:pt x="47253" y="32474"/>
                    </a:cubicBezTo>
                    <a:moveTo>
                      <a:pt x="10467" y="8099"/>
                    </a:moveTo>
                    <a:lnTo>
                      <a:pt x="10467" y="23053"/>
                    </a:lnTo>
                    <a:lnTo>
                      <a:pt x="25421" y="23053"/>
                    </a:lnTo>
                    <a:cubicBezTo>
                      <a:pt x="28392" y="23268"/>
                      <a:pt x="31360" y="22591"/>
                      <a:pt x="33944" y="21109"/>
                    </a:cubicBezTo>
                    <a:cubicBezTo>
                      <a:pt x="37165" y="18799"/>
                      <a:pt x="37903" y="14314"/>
                      <a:pt x="35592" y="11093"/>
                    </a:cubicBezTo>
                    <a:cubicBezTo>
                      <a:pt x="35136" y="10458"/>
                      <a:pt x="34579" y="9901"/>
                      <a:pt x="33944" y="9445"/>
                    </a:cubicBezTo>
                    <a:cubicBezTo>
                      <a:pt x="31360" y="7963"/>
                      <a:pt x="28392" y="7286"/>
                      <a:pt x="25421" y="7501"/>
                    </a:cubicBezTo>
                    <a:close/>
                    <a:moveTo>
                      <a:pt x="40374" y="40100"/>
                    </a:moveTo>
                    <a:cubicBezTo>
                      <a:pt x="40374" y="34567"/>
                      <a:pt x="36337" y="31875"/>
                      <a:pt x="28112" y="31875"/>
                    </a:cubicBezTo>
                    <a:lnTo>
                      <a:pt x="10467" y="31875"/>
                    </a:lnTo>
                    <a:lnTo>
                      <a:pt x="10467" y="48324"/>
                    </a:lnTo>
                    <a:lnTo>
                      <a:pt x="27514" y="48324"/>
                    </a:lnTo>
                    <a:cubicBezTo>
                      <a:pt x="35739" y="48324"/>
                      <a:pt x="39776" y="45483"/>
                      <a:pt x="39776" y="40100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F0F17648-67A4-C58A-20E7-E312BC27A210}"/>
                  </a:ext>
                </a:extLst>
              </p:cNvPr>
              <p:cNvSpPr/>
              <p:nvPr/>
            </p:nvSpPr>
            <p:spPr>
              <a:xfrm>
                <a:off x="2917772" y="3207372"/>
                <a:ext cx="45321" cy="58347"/>
              </a:xfrm>
              <a:custGeom>
                <a:avLst/>
                <a:gdLst>
                  <a:gd name="connsiteX0" fmla="*/ 9570 w 45321"/>
                  <a:gd name="connsiteY0" fmla="*/ 56838 h 58347"/>
                  <a:gd name="connsiteX1" fmla="*/ 0 w 45321"/>
                  <a:gd name="connsiteY1" fmla="*/ 51903 h 58347"/>
                  <a:gd name="connsiteX2" fmla="*/ 3589 w 45321"/>
                  <a:gd name="connsiteY2" fmla="*/ 43679 h 58347"/>
                  <a:gd name="connsiteX3" fmla="*/ 12112 w 45321"/>
                  <a:gd name="connsiteY3" fmla="*/ 48165 h 58347"/>
                  <a:gd name="connsiteX4" fmla="*/ 22281 w 45321"/>
                  <a:gd name="connsiteY4" fmla="*/ 49959 h 58347"/>
                  <a:gd name="connsiteX5" fmla="*/ 31701 w 45321"/>
                  <a:gd name="connsiteY5" fmla="*/ 47866 h 58347"/>
                  <a:gd name="connsiteX6" fmla="*/ 34841 w 45321"/>
                  <a:gd name="connsiteY6" fmla="*/ 42482 h 58347"/>
                  <a:gd name="connsiteX7" fmla="*/ 33197 w 45321"/>
                  <a:gd name="connsiteY7" fmla="*/ 38594 h 58347"/>
                  <a:gd name="connsiteX8" fmla="*/ 28711 w 45321"/>
                  <a:gd name="connsiteY8" fmla="*/ 36052 h 58347"/>
                  <a:gd name="connsiteX9" fmla="*/ 21383 w 45321"/>
                  <a:gd name="connsiteY9" fmla="*/ 33809 h 58347"/>
                  <a:gd name="connsiteX10" fmla="*/ 10916 w 45321"/>
                  <a:gd name="connsiteY10" fmla="*/ 30669 h 58347"/>
                  <a:gd name="connsiteX11" fmla="*/ 4037 w 45321"/>
                  <a:gd name="connsiteY11" fmla="*/ 25884 h 58347"/>
                  <a:gd name="connsiteX12" fmla="*/ 1196 w 45321"/>
                  <a:gd name="connsiteY12" fmla="*/ 16912 h 58347"/>
                  <a:gd name="connsiteX13" fmla="*/ 3738 w 45321"/>
                  <a:gd name="connsiteY13" fmla="*/ 8389 h 58347"/>
                  <a:gd name="connsiteX14" fmla="*/ 11365 w 45321"/>
                  <a:gd name="connsiteY14" fmla="*/ 2258 h 58347"/>
                  <a:gd name="connsiteX15" fmla="*/ 24075 w 45321"/>
                  <a:gd name="connsiteY15" fmla="*/ 15 h 58347"/>
                  <a:gd name="connsiteX16" fmla="*/ 34243 w 45321"/>
                  <a:gd name="connsiteY16" fmla="*/ 1360 h 58347"/>
                  <a:gd name="connsiteX17" fmla="*/ 42916 w 45321"/>
                  <a:gd name="connsiteY17" fmla="*/ 5099 h 58347"/>
                  <a:gd name="connsiteX18" fmla="*/ 39627 w 45321"/>
                  <a:gd name="connsiteY18" fmla="*/ 13174 h 58347"/>
                  <a:gd name="connsiteX19" fmla="*/ 31851 w 45321"/>
                  <a:gd name="connsiteY19" fmla="*/ 9884 h 58347"/>
                  <a:gd name="connsiteX20" fmla="*/ 23925 w 45321"/>
                  <a:gd name="connsiteY20" fmla="*/ 8837 h 58347"/>
                  <a:gd name="connsiteX21" fmla="*/ 14654 w 45321"/>
                  <a:gd name="connsiteY21" fmla="*/ 10931 h 58347"/>
                  <a:gd name="connsiteX22" fmla="*/ 11664 w 45321"/>
                  <a:gd name="connsiteY22" fmla="*/ 16463 h 58347"/>
                  <a:gd name="connsiteX23" fmla="*/ 13309 w 45321"/>
                  <a:gd name="connsiteY23" fmla="*/ 20501 h 58347"/>
                  <a:gd name="connsiteX24" fmla="*/ 17795 w 45321"/>
                  <a:gd name="connsiteY24" fmla="*/ 22893 h 58347"/>
                  <a:gd name="connsiteX25" fmla="*/ 25122 w 45321"/>
                  <a:gd name="connsiteY25" fmla="*/ 24837 h 58347"/>
                  <a:gd name="connsiteX26" fmla="*/ 35440 w 45321"/>
                  <a:gd name="connsiteY26" fmla="*/ 27977 h 58347"/>
                  <a:gd name="connsiteX27" fmla="*/ 42318 w 45321"/>
                  <a:gd name="connsiteY27" fmla="*/ 32763 h 58347"/>
                  <a:gd name="connsiteX28" fmla="*/ 45309 w 45321"/>
                  <a:gd name="connsiteY28" fmla="*/ 41585 h 58347"/>
                  <a:gd name="connsiteX29" fmla="*/ 42767 w 45321"/>
                  <a:gd name="connsiteY29" fmla="*/ 50108 h 58347"/>
                  <a:gd name="connsiteX30" fmla="*/ 34991 w 45321"/>
                  <a:gd name="connsiteY30" fmla="*/ 56090 h 58347"/>
                  <a:gd name="connsiteX31" fmla="*/ 22281 w 45321"/>
                  <a:gd name="connsiteY31" fmla="*/ 58333 h 58347"/>
                  <a:gd name="connsiteX32" fmla="*/ 9570 w 45321"/>
                  <a:gd name="connsiteY32" fmla="*/ 56538 h 58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21" h="58347">
                    <a:moveTo>
                      <a:pt x="9570" y="56838"/>
                    </a:moveTo>
                    <a:cubicBezTo>
                      <a:pt x="6061" y="55903"/>
                      <a:pt x="2796" y="54221"/>
                      <a:pt x="0" y="51903"/>
                    </a:cubicBezTo>
                    <a:lnTo>
                      <a:pt x="3589" y="43679"/>
                    </a:lnTo>
                    <a:cubicBezTo>
                      <a:pt x="6194" y="45587"/>
                      <a:pt x="9066" y="47097"/>
                      <a:pt x="12112" y="48165"/>
                    </a:cubicBezTo>
                    <a:cubicBezTo>
                      <a:pt x="15378" y="49325"/>
                      <a:pt x="18814" y="49932"/>
                      <a:pt x="22281" y="49959"/>
                    </a:cubicBezTo>
                    <a:cubicBezTo>
                      <a:pt x="25557" y="50174"/>
                      <a:pt x="28826" y="49449"/>
                      <a:pt x="31701" y="47866"/>
                    </a:cubicBezTo>
                    <a:cubicBezTo>
                      <a:pt x="33650" y="46777"/>
                      <a:pt x="34853" y="44715"/>
                      <a:pt x="34841" y="42482"/>
                    </a:cubicBezTo>
                    <a:cubicBezTo>
                      <a:pt x="34846" y="41017"/>
                      <a:pt x="34251" y="39613"/>
                      <a:pt x="33197" y="38594"/>
                    </a:cubicBezTo>
                    <a:cubicBezTo>
                      <a:pt x="31885" y="37456"/>
                      <a:pt x="30360" y="36592"/>
                      <a:pt x="28711" y="36052"/>
                    </a:cubicBezTo>
                    <a:lnTo>
                      <a:pt x="21383" y="33809"/>
                    </a:lnTo>
                    <a:cubicBezTo>
                      <a:pt x="17829" y="32993"/>
                      <a:pt x="14333" y="31945"/>
                      <a:pt x="10916" y="30669"/>
                    </a:cubicBezTo>
                    <a:cubicBezTo>
                      <a:pt x="8286" y="29624"/>
                      <a:pt x="5932" y="27986"/>
                      <a:pt x="4037" y="25884"/>
                    </a:cubicBezTo>
                    <a:cubicBezTo>
                      <a:pt x="2017" y="23346"/>
                      <a:pt x="1005" y="20151"/>
                      <a:pt x="1196" y="16912"/>
                    </a:cubicBezTo>
                    <a:cubicBezTo>
                      <a:pt x="1159" y="13879"/>
                      <a:pt x="2046" y="10907"/>
                      <a:pt x="3738" y="8389"/>
                    </a:cubicBezTo>
                    <a:cubicBezTo>
                      <a:pt x="5614" y="5631"/>
                      <a:pt x="8269" y="3497"/>
                      <a:pt x="11365" y="2258"/>
                    </a:cubicBezTo>
                    <a:cubicBezTo>
                      <a:pt x="15402" y="646"/>
                      <a:pt x="19730" y="-117"/>
                      <a:pt x="24075" y="15"/>
                    </a:cubicBezTo>
                    <a:cubicBezTo>
                      <a:pt x="27510" y="10"/>
                      <a:pt x="30928" y="463"/>
                      <a:pt x="34243" y="1360"/>
                    </a:cubicBezTo>
                    <a:cubicBezTo>
                      <a:pt x="37321" y="2118"/>
                      <a:pt x="40252" y="3382"/>
                      <a:pt x="42916" y="5099"/>
                    </a:cubicBezTo>
                    <a:lnTo>
                      <a:pt x="39627" y="13174"/>
                    </a:lnTo>
                    <a:cubicBezTo>
                      <a:pt x="37161" y="11801"/>
                      <a:pt x="34554" y="10697"/>
                      <a:pt x="31851" y="9884"/>
                    </a:cubicBezTo>
                    <a:cubicBezTo>
                      <a:pt x="29268" y="9183"/>
                      <a:pt x="26602" y="8830"/>
                      <a:pt x="23925" y="8837"/>
                    </a:cubicBezTo>
                    <a:cubicBezTo>
                      <a:pt x="20693" y="8560"/>
                      <a:pt x="17454" y="9292"/>
                      <a:pt x="14654" y="10931"/>
                    </a:cubicBezTo>
                    <a:cubicBezTo>
                      <a:pt x="12784" y="12148"/>
                      <a:pt x="11658" y="14231"/>
                      <a:pt x="11664" y="16463"/>
                    </a:cubicBezTo>
                    <a:cubicBezTo>
                      <a:pt x="11637" y="17978"/>
                      <a:pt x="12230" y="19436"/>
                      <a:pt x="13309" y="20501"/>
                    </a:cubicBezTo>
                    <a:cubicBezTo>
                      <a:pt x="14630" y="21589"/>
                      <a:pt x="16154" y="22403"/>
                      <a:pt x="17795" y="22893"/>
                    </a:cubicBezTo>
                    <a:lnTo>
                      <a:pt x="25122" y="24837"/>
                    </a:lnTo>
                    <a:cubicBezTo>
                      <a:pt x="28622" y="25673"/>
                      <a:pt x="32068" y="26721"/>
                      <a:pt x="35440" y="27977"/>
                    </a:cubicBezTo>
                    <a:cubicBezTo>
                      <a:pt x="38089" y="28987"/>
                      <a:pt x="40450" y="30629"/>
                      <a:pt x="42318" y="32763"/>
                    </a:cubicBezTo>
                    <a:cubicBezTo>
                      <a:pt x="44383" y="35227"/>
                      <a:pt x="45449" y="38375"/>
                      <a:pt x="45309" y="41585"/>
                    </a:cubicBezTo>
                    <a:cubicBezTo>
                      <a:pt x="45346" y="44618"/>
                      <a:pt x="44459" y="47590"/>
                      <a:pt x="42767" y="50108"/>
                    </a:cubicBezTo>
                    <a:cubicBezTo>
                      <a:pt x="40787" y="52791"/>
                      <a:pt x="38092" y="54864"/>
                      <a:pt x="34991" y="56090"/>
                    </a:cubicBezTo>
                    <a:cubicBezTo>
                      <a:pt x="30952" y="57702"/>
                      <a:pt x="26626" y="58465"/>
                      <a:pt x="22281" y="58333"/>
                    </a:cubicBezTo>
                    <a:cubicBezTo>
                      <a:pt x="17980" y="58334"/>
                      <a:pt x="13702" y="57730"/>
                      <a:pt x="9570" y="56538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FFD8F47D-C691-7C95-B8CA-0F677091A808}"/>
                  </a:ext>
                </a:extLst>
              </p:cNvPr>
              <p:cNvSpPr/>
              <p:nvPr/>
            </p:nvSpPr>
            <p:spPr>
              <a:xfrm>
                <a:off x="3012427" y="3208434"/>
                <a:ext cx="42467" cy="56823"/>
              </a:xfrm>
              <a:custGeom>
                <a:avLst/>
                <a:gdLst>
                  <a:gd name="connsiteX0" fmla="*/ 42468 w 42467"/>
                  <a:gd name="connsiteY0" fmla="*/ 48000 h 56823"/>
                  <a:gd name="connsiteX1" fmla="*/ 42468 w 42467"/>
                  <a:gd name="connsiteY1" fmla="*/ 56823 h 56823"/>
                  <a:gd name="connsiteX2" fmla="*/ 0 w 42467"/>
                  <a:gd name="connsiteY2" fmla="*/ 56823 h 56823"/>
                  <a:gd name="connsiteX3" fmla="*/ 0 w 42467"/>
                  <a:gd name="connsiteY3" fmla="*/ 0 h 56823"/>
                  <a:gd name="connsiteX4" fmla="*/ 41421 w 42467"/>
                  <a:gd name="connsiteY4" fmla="*/ 0 h 56823"/>
                  <a:gd name="connsiteX5" fmla="*/ 41421 w 42467"/>
                  <a:gd name="connsiteY5" fmla="*/ 8972 h 56823"/>
                  <a:gd name="connsiteX6" fmla="*/ 10467 w 42467"/>
                  <a:gd name="connsiteY6" fmla="*/ 8972 h 56823"/>
                  <a:gd name="connsiteX7" fmla="*/ 10467 w 42467"/>
                  <a:gd name="connsiteY7" fmla="*/ 23626 h 56823"/>
                  <a:gd name="connsiteX8" fmla="*/ 37832 w 42467"/>
                  <a:gd name="connsiteY8" fmla="*/ 23626 h 56823"/>
                  <a:gd name="connsiteX9" fmla="*/ 37832 w 42467"/>
                  <a:gd name="connsiteY9" fmla="*/ 32299 h 56823"/>
                  <a:gd name="connsiteX10" fmla="*/ 10467 w 42467"/>
                  <a:gd name="connsiteY10" fmla="*/ 32299 h 56823"/>
                  <a:gd name="connsiteX11" fmla="*/ 10467 w 42467"/>
                  <a:gd name="connsiteY11" fmla="*/ 48000 h 56823"/>
                  <a:gd name="connsiteX12" fmla="*/ 42468 w 42467"/>
                  <a:gd name="connsiteY12" fmla="*/ 4800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467" h="56823">
                    <a:moveTo>
                      <a:pt x="42468" y="48000"/>
                    </a:moveTo>
                    <a:lnTo>
                      <a:pt x="42468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972"/>
                    </a:lnTo>
                    <a:lnTo>
                      <a:pt x="10467" y="8972"/>
                    </a:lnTo>
                    <a:lnTo>
                      <a:pt x="10467" y="23626"/>
                    </a:lnTo>
                    <a:lnTo>
                      <a:pt x="37832" y="23626"/>
                    </a:lnTo>
                    <a:lnTo>
                      <a:pt x="37832" y="32299"/>
                    </a:lnTo>
                    <a:lnTo>
                      <a:pt x="10467" y="32299"/>
                    </a:lnTo>
                    <a:lnTo>
                      <a:pt x="10467" y="48000"/>
                    </a:lnTo>
                    <a:lnTo>
                      <a:pt x="42468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04E0CF59-2FE4-633A-66D7-BB784832E6CB}"/>
                  </a:ext>
                </a:extLst>
              </p:cNvPr>
              <p:cNvSpPr/>
              <p:nvPr/>
            </p:nvSpPr>
            <p:spPr>
              <a:xfrm>
                <a:off x="3105587" y="3208428"/>
                <a:ext cx="48897" cy="56828"/>
              </a:xfrm>
              <a:custGeom>
                <a:avLst/>
                <a:gdLst>
                  <a:gd name="connsiteX0" fmla="*/ 37234 w 48897"/>
                  <a:gd name="connsiteY0" fmla="*/ 56829 h 56828"/>
                  <a:gd name="connsiteX1" fmla="*/ 25570 w 48897"/>
                  <a:gd name="connsiteY1" fmla="*/ 40230 h 56828"/>
                  <a:gd name="connsiteX2" fmla="*/ 10617 w 48897"/>
                  <a:gd name="connsiteY2" fmla="*/ 40230 h 56828"/>
                  <a:gd name="connsiteX3" fmla="*/ 10617 w 48897"/>
                  <a:gd name="connsiteY3" fmla="*/ 56829 h 56828"/>
                  <a:gd name="connsiteX4" fmla="*/ 0 w 48897"/>
                  <a:gd name="connsiteY4" fmla="*/ 56829 h 56828"/>
                  <a:gd name="connsiteX5" fmla="*/ 0 w 48897"/>
                  <a:gd name="connsiteY5" fmla="*/ 6 h 56828"/>
                  <a:gd name="connsiteX6" fmla="*/ 23776 w 48897"/>
                  <a:gd name="connsiteY6" fmla="*/ 6 h 56828"/>
                  <a:gd name="connsiteX7" fmla="*/ 36636 w 48897"/>
                  <a:gd name="connsiteY7" fmla="*/ 2548 h 56828"/>
                  <a:gd name="connsiteX8" fmla="*/ 45010 w 48897"/>
                  <a:gd name="connsiteY8" fmla="*/ 9426 h 56828"/>
                  <a:gd name="connsiteX9" fmla="*/ 48000 w 48897"/>
                  <a:gd name="connsiteY9" fmla="*/ 20193 h 56828"/>
                  <a:gd name="connsiteX10" fmla="*/ 44860 w 48897"/>
                  <a:gd name="connsiteY10" fmla="*/ 31258 h 56828"/>
                  <a:gd name="connsiteX11" fmla="*/ 35888 w 48897"/>
                  <a:gd name="connsiteY11" fmla="*/ 38137 h 56828"/>
                  <a:gd name="connsiteX12" fmla="*/ 48898 w 48897"/>
                  <a:gd name="connsiteY12" fmla="*/ 56829 h 56828"/>
                  <a:gd name="connsiteX13" fmla="*/ 33346 w 48897"/>
                  <a:gd name="connsiteY13" fmla="*/ 11969 h 56828"/>
                  <a:gd name="connsiteX14" fmla="*/ 22879 w 48897"/>
                  <a:gd name="connsiteY14" fmla="*/ 8978 h 56828"/>
                  <a:gd name="connsiteX15" fmla="*/ 10617 w 48897"/>
                  <a:gd name="connsiteY15" fmla="*/ 8978 h 56828"/>
                  <a:gd name="connsiteX16" fmla="*/ 10617 w 48897"/>
                  <a:gd name="connsiteY16" fmla="*/ 31557 h 56828"/>
                  <a:gd name="connsiteX17" fmla="*/ 22879 w 48897"/>
                  <a:gd name="connsiteY17" fmla="*/ 31557 h 56828"/>
                  <a:gd name="connsiteX18" fmla="*/ 33346 w 48897"/>
                  <a:gd name="connsiteY18" fmla="*/ 28567 h 56828"/>
                  <a:gd name="connsiteX19" fmla="*/ 36935 w 48897"/>
                  <a:gd name="connsiteY19" fmla="*/ 20193 h 56828"/>
                  <a:gd name="connsiteX20" fmla="*/ 33346 w 48897"/>
                  <a:gd name="connsiteY20" fmla="*/ 11969 h 56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8897" h="56828">
                    <a:moveTo>
                      <a:pt x="37234" y="56829"/>
                    </a:moveTo>
                    <a:lnTo>
                      <a:pt x="25570" y="40230"/>
                    </a:lnTo>
                    <a:lnTo>
                      <a:pt x="10617" y="40230"/>
                    </a:lnTo>
                    <a:lnTo>
                      <a:pt x="10617" y="56829"/>
                    </a:lnTo>
                    <a:lnTo>
                      <a:pt x="0" y="56829"/>
                    </a:lnTo>
                    <a:lnTo>
                      <a:pt x="0" y="6"/>
                    </a:lnTo>
                    <a:lnTo>
                      <a:pt x="23776" y="6"/>
                    </a:lnTo>
                    <a:cubicBezTo>
                      <a:pt x="28195" y="-79"/>
                      <a:pt x="32582" y="788"/>
                      <a:pt x="36636" y="2548"/>
                    </a:cubicBezTo>
                    <a:cubicBezTo>
                      <a:pt x="40054" y="3947"/>
                      <a:pt x="42973" y="6345"/>
                      <a:pt x="45010" y="9426"/>
                    </a:cubicBezTo>
                    <a:cubicBezTo>
                      <a:pt x="47008" y="12659"/>
                      <a:pt x="48045" y="16393"/>
                      <a:pt x="48000" y="20193"/>
                    </a:cubicBezTo>
                    <a:cubicBezTo>
                      <a:pt x="48123" y="24117"/>
                      <a:pt x="47025" y="27984"/>
                      <a:pt x="44860" y="31258"/>
                    </a:cubicBezTo>
                    <a:cubicBezTo>
                      <a:pt x="42674" y="34443"/>
                      <a:pt x="39532" y="36853"/>
                      <a:pt x="35888" y="38137"/>
                    </a:cubicBezTo>
                    <a:lnTo>
                      <a:pt x="48898" y="56829"/>
                    </a:lnTo>
                    <a:close/>
                    <a:moveTo>
                      <a:pt x="33346" y="11969"/>
                    </a:moveTo>
                    <a:cubicBezTo>
                      <a:pt x="30308" y="9790"/>
                      <a:pt x="26608" y="8733"/>
                      <a:pt x="22879" y="8978"/>
                    </a:cubicBezTo>
                    <a:lnTo>
                      <a:pt x="10617" y="8978"/>
                    </a:lnTo>
                    <a:lnTo>
                      <a:pt x="10617" y="31557"/>
                    </a:lnTo>
                    <a:lnTo>
                      <a:pt x="22879" y="31557"/>
                    </a:lnTo>
                    <a:cubicBezTo>
                      <a:pt x="26620" y="31910"/>
                      <a:pt x="30357" y="30843"/>
                      <a:pt x="33346" y="28567"/>
                    </a:cubicBezTo>
                    <a:cubicBezTo>
                      <a:pt x="35816" y="26512"/>
                      <a:pt x="37150" y="23399"/>
                      <a:pt x="36935" y="20193"/>
                    </a:cubicBezTo>
                    <a:cubicBezTo>
                      <a:pt x="37126" y="17035"/>
                      <a:pt x="35791" y="13977"/>
                      <a:pt x="33346" y="11969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259885A2-3D2A-F459-1800-9F86908B6FD2}"/>
                  </a:ext>
                </a:extLst>
              </p:cNvPr>
              <p:cNvSpPr/>
              <p:nvPr/>
            </p:nvSpPr>
            <p:spPr>
              <a:xfrm>
                <a:off x="3195756" y="3208434"/>
                <a:ext cx="59963" cy="56823"/>
              </a:xfrm>
              <a:custGeom>
                <a:avLst/>
                <a:gdLst>
                  <a:gd name="connsiteX0" fmla="*/ 59963 w 59963"/>
                  <a:gd name="connsiteY0" fmla="*/ 0 h 56823"/>
                  <a:gd name="connsiteX1" fmla="*/ 35141 w 59963"/>
                  <a:gd name="connsiteY1" fmla="*/ 56823 h 56823"/>
                  <a:gd name="connsiteX2" fmla="*/ 24823 w 59963"/>
                  <a:gd name="connsiteY2" fmla="*/ 56823 h 56823"/>
                  <a:gd name="connsiteX3" fmla="*/ 0 w 59963"/>
                  <a:gd name="connsiteY3" fmla="*/ 0 h 56823"/>
                  <a:gd name="connsiteX4" fmla="*/ 11365 w 59963"/>
                  <a:gd name="connsiteY4" fmla="*/ 0 h 56823"/>
                  <a:gd name="connsiteX5" fmla="*/ 30355 w 59963"/>
                  <a:gd name="connsiteY5" fmla="*/ 43814 h 56823"/>
                  <a:gd name="connsiteX6" fmla="*/ 49346 w 59963"/>
                  <a:gd name="connsiteY6" fmla="*/ 0 h 56823"/>
                  <a:gd name="connsiteX7" fmla="*/ 59963 w 59963"/>
                  <a:gd name="connsiteY7" fmla="*/ 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63" h="56823">
                    <a:moveTo>
                      <a:pt x="59963" y="0"/>
                    </a:moveTo>
                    <a:lnTo>
                      <a:pt x="35141" y="56823"/>
                    </a:lnTo>
                    <a:lnTo>
                      <a:pt x="24823" y="56823"/>
                    </a:lnTo>
                    <a:lnTo>
                      <a:pt x="0" y="0"/>
                    </a:lnTo>
                    <a:lnTo>
                      <a:pt x="11365" y="0"/>
                    </a:lnTo>
                    <a:lnTo>
                      <a:pt x="30355" y="43814"/>
                    </a:lnTo>
                    <a:lnTo>
                      <a:pt x="49346" y="0"/>
                    </a:lnTo>
                    <a:lnTo>
                      <a:pt x="59963" y="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43828E6B-044E-B328-B8EC-ACFB155F3D7B}"/>
                  </a:ext>
                </a:extLst>
              </p:cNvPr>
              <p:cNvSpPr/>
              <p:nvPr/>
            </p:nvSpPr>
            <p:spPr>
              <a:xfrm>
                <a:off x="3290710" y="3208583"/>
                <a:ext cx="61608" cy="56673"/>
              </a:xfrm>
              <a:custGeom>
                <a:avLst/>
                <a:gdLst>
                  <a:gd name="connsiteX0" fmla="*/ 44860 w 61608"/>
                  <a:gd name="connsiteY0" fmla="*/ 43515 h 56673"/>
                  <a:gd name="connsiteX1" fmla="*/ 16598 w 61608"/>
                  <a:gd name="connsiteY1" fmla="*/ 43515 h 56673"/>
                  <a:gd name="connsiteX2" fmla="*/ 10916 w 61608"/>
                  <a:gd name="connsiteY2" fmla="*/ 56673 h 56673"/>
                  <a:gd name="connsiteX3" fmla="*/ 0 w 61608"/>
                  <a:gd name="connsiteY3" fmla="*/ 56673 h 56673"/>
                  <a:gd name="connsiteX4" fmla="*/ 25570 w 61608"/>
                  <a:gd name="connsiteY4" fmla="*/ 0 h 56673"/>
                  <a:gd name="connsiteX5" fmla="*/ 36038 w 61608"/>
                  <a:gd name="connsiteY5" fmla="*/ 0 h 56673"/>
                  <a:gd name="connsiteX6" fmla="*/ 61608 w 61608"/>
                  <a:gd name="connsiteY6" fmla="*/ 56673 h 56673"/>
                  <a:gd name="connsiteX7" fmla="*/ 50542 w 61608"/>
                  <a:gd name="connsiteY7" fmla="*/ 56673 h 56673"/>
                  <a:gd name="connsiteX8" fmla="*/ 41421 w 61608"/>
                  <a:gd name="connsiteY8" fmla="*/ 35290 h 56673"/>
                  <a:gd name="connsiteX9" fmla="*/ 30654 w 61608"/>
                  <a:gd name="connsiteY9" fmla="*/ 10467 h 56673"/>
                  <a:gd name="connsiteX10" fmla="*/ 20038 w 61608"/>
                  <a:gd name="connsiteY10" fmla="*/ 3529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08" h="56673">
                    <a:moveTo>
                      <a:pt x="44860" y="43515"/>
                    </a:moveTo>
                    <a:lnTo>
                      <a:pt x="16598" y="43515"/>
                    </a:lnTo>
                    <a:lnTo>
                      <a:pt x="10916" y="56673"/>
                    </a:lnTo>
                    <a:lnTo>
                      <a:pt x="0" y="56673"/>
                    </a:lnTo>
                    <a:lnTo>
                      <a:pt x="25570" y="0"/>
                    </a:lnTo>
                    <a:lnTo>
                      <a:pt x="36038" y="0"/>
                    </a:lnTo>
                    <a:lnTo>
                      <a:pt x="61608" y="56673"/>
                    </a:lnTo>
                    <a:lnTo>
                      <a:pt x="50542" y="56673"/>
                    </a:lnTo>
                    <a:close/>
                    <a:moveTo>
                      <a:pt x="41421" y="35290"/>
                    </a:moveTo>
                    <a:lnTo>
                      <a:pt x="30654" y="1046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18A1D807-8D18-BE8E-477F-F0186089195E}"/>
                  </a:ext>
                </a:extLst>
              </p:cNvPr>
              <p:cNvSpPr/>
              <p:nvPr/>
            </p:nvSpPr>
            <p:spPr>
              <a:xfrm>
                <a:off x="3388356" y="3208434"/>
                <a:ext cx="48150" cy="56823"/>
              </a:xfrm>
              <a:custGeom>
                <a:avLst/>
                <a:gdLst>
                  <a:gd name="connsiteX0" fmla="*/ 18841 w 48150"/>
                  <a:gd name="connsiteY0" fmla="*/ 8972 h 56823"/>
                  <a:gd name="connsiteX1" fmla="*/ 0 w 48150"/>
                  <a:gd name="connsiteY1" fmla="*/ 8972 h 56823"/>
                  <a:gd name="connsiteX2" fmla="*/ 0 w 48150"/>
                  <a:gd name="connsiteY2" fmla="*/ 0 h 56823"/>
                  <a:gd name="connsiteX3" fmla="*/ 48150 w 48150"/>
                  <a:gd name="connsiteY3" fmla="*/ 0 h 56823"/>
                  <a:gd name="connsiteX4" fmla="*/ 48150 w 48150"/>
                  <a:gd name="connsiteY4" fmla="*/ 8972 h 56823"/>
                  <a:gd name="connsiteX5" fmla="*/ 29309 w 48150"/>
                  <a:gd name="connsiteY5" fmla="*/ 8972 h 56823"/>
                  <a:gd name="connsiteX6" fmla="*/ 29309 w 48150"/>
                  <a:gd name="connsiteY6" fmla="*/ 56823 h 56823"/>
                  <a:gd name="connsiteX7" fmla="*/ 18841 w 48150"/>
                  <a:gd name="connsiteY7" fmla="*/ 56823 h 56823"/>
                  <a:gd name="connsiteX8" fmla="*/ 18841 w 48150"/>
                  <a:gd name="connsiteY8" fmla="*/ 8972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823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309" y="8972"/>
                    </a:lnTo>
                    <a:lnTo>
                      <a:pt x="29309" y="56823"/>
                    </a:lnTo>
                    <a:lnTo>
                      <a:pt x="18841" y="5682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59DE69CD-67DB-8711-4CCE-EA6DD2382BA5}"/>
                  </a:ext>
                </a:extLst>
              </p:cNvPr>
              <p:cNvSpPr/>
              <p:nvPr/>
            </p:nvSpPr>
            <p:spPr>
              <a:xfrm>
                <a:off x="3478291" y="3207686"/>
                <a:ext cx="59899" cy="58318"/>
              </a:xfrm>
              <a:custGeom>
                <a:avLst/>
                <a:gdLst>
                  <a:gd name="connsiteX0" fmla="*/ 15038 w 59899"/>
                  <a:gd name="connsiteY0" fmla="*/ 54580 h 58318"/>
                  <a:gd name="connsiteX1" fmla="*/ 3594 w 59899"/>
                  <a:gd name="connsiteY1" fmla="*/ 15182 h 58318"/>
                  <a:gd name="connsiteX2" fmla="*/ 15038 w 59899"/>
                  <a:gd name="connsiteY2" fmla="*/ 3738 h 58318"/>
                  <a:gd name="connsiteX3" fmla="*/ 29992 w 59899"/>
                  <a:gd name="connsiteY3" fmla="*/ 0 h 58318"/>
                  <a:gd name="connsiteX4" fmla="*/ 44945 w 59899"/>
                  <a:gd name="connsiteY4" fmla="*/ 3738 h 58318"/>
                  <a:gd name="connsiteX5" fmla="*/ 56011 w 59899"/>
                  <a:gd name="connsiteY5" fmla="*/ 14206 h 58318"/>
                  <a:gd name="connsiteX6" fmla="*/ 59898 w 59899"/>
                  <a:gd name="connsiteY6" fmla="*/ 29159 h 58318"/>
                  <a:gd name="connsiteX7" fmla="*/ 56011 w 59899"/>
                  <a:gd name="connsiteY7" fmla="*/ 44113 h 58318"/>
                  <a:gd name="connsiteX8" fmla="*/ 44945 w 59899"/>
                  <a:gd name="connsiteY8" fmla="*/ 54580 h 58318"/>
                  <a:gd name="connsiteX9" fmla="*/ 29992 w 59899"/>
                  <a:gd name="connsiteY9" fmla="*/ 58318 h 58318"/>
                  <a:gd name="connsiteX10" fmla="*/ 15038 w 59899"/>
                  <a:gd name="connsiteY10" fmla="*/ 54580 h 58318"/>
                  <a:gd name="connsiteX11" fmla="*/ 40908 w 59899"/>
                  <a:gd name="connsiteY11" fmla="*/ 46505 h 58318"/>
                  <a:gd name="connsiteX12" fmla="*/ 48085 w 59899"/>
                  <a:gd name="connsiteY12" fmla="*/ 39477 h 58318"/>
                  <a:gd name="connsiteX13" fmla="*/ 50627 w 59899"/>
                  <a:gd name="connsiteY13" fmla="*/ 29159 h 58318"/>
                  <a:gd name="connsiteX14" fmla="*/ 48085 w 59899"/>
                  <a:gd name="connsiteY14" fmla="*/ 18991 h 58318"/>
                  <a:gd name="connsiteX15" fmla="*/ 40908 w 59899"/>
                  <a:gd name="connsiteY15" fmla="*/ 11813 h 58318"/>
                  <a:gd name="connsiteX16" fmla="*/ 20571 w 59899"/>
                  <a:gd name="connsiteY16" fmla="*/ 11813 h 58318"/>
                  <a:gd name="connsiteX17" fmla="*/ 13393 w 59899"/>
                  <a:gd name="connsiteY17" fmla="*/ 18991 h 58318"/>
                  <a:gd name="connsiteX18" fmla="*/ 10851 w 59899"/>
                  <a:gd name="connsiteY18" fmla="*/ 29159 h 58318"/>
                  <a:gd name="connsiteX19" fmla="*/ 13393 w 59899"/>
                  <a:gd name="connsiteY19" fmla="*/ 39477 h 58318"/>
                  <a:gd name="connsiteX20" fmla="*/ 20571 w 59899"/>
                  <a:gd name="connsiteY20" fmla="*/ 46505 h 58318"/>
                  <a:gd name="connsiteX21" fmla="*/ 40908 w 59899"/>
                  <a:gd name="connsiteY21" fmla="*/ 46505 h 5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9899" h="58318">
                    <a:moveTo>
                      <a:pt x="15038" y="54580"/>
                    </a:moveTo>
                    <a:cubicBezTo>
                      <a:pt x="998" y="46861"/>
                      <a:pt x="-4125" y="29222"/>
                      <a:pt x="3594" y="15182"/>
                    </a:cubicBezTo>
                    <a:cubicBezTo>
                      <a:pt x="6246" y="10360"/>
                      <a:pt x="10214" y="6390"/>
                      <a:pt x="15038" y="3738"/>
                    </a:cubicBezTo>
                    <a:cubicBezTo>
                      <a:pt x="19644" y="1292"/>
                      <a:pt x="24777" y="9"/>
                      <a:pt x="29992" y="0"/>
                    </a:cubicBezTo>
                    <a:cubicBezTo>
                      <a:pt x="35209" y="-9"/>
                      <a:pt x="40347" y="1276"/>
                      <a:pt x="44945" y="3738"/>
                    </a:cubicBezTo>
                    <a:cubicBezTo>
                      <a:pt x="49540" y="6123"/>
                      <a:pt x="53374" y="9750"/>
                      <a:pt x="56011" y="14206"/>
                    </a:cubicBezTo>
                    <a:cubicBezTo>
                      <a:pt x="58595" y="18764"/>
                      <a:pt x="59934" y="23919"/>
                      <a:pt x="59898" y="29159"/>
                    </a:cubicBezTo>
                    <a:cubicBezTo>
                      <a:pt x="59934" y="34397"/>
                      <a:pt x="58595" y="39555"/>
                      <a:pt x="56011" y="44113"/>
                    </a:cubicBezTo>
                    <a:cubicBezTo>
                      <a:pt x="53374" y="48569"/>
                      <a:pt x="49540" y="52195"/>
                      <a:pt x="44945" y="54580"/>
                    </a:cubicBezTo>
                    <a:cubicBezTo>
                      <a:pt x="40347" y="57043"/>
                      <a:pt x="35209" y="58327"/>
                      <a:pt x="29992" y="58318"/>
                    </a:cubicBezTo>
                    <a:cubicBezTo>
                      <a:pt x="24777" y="58309"/>
                      <a:pt x="19644" y="57026"/>
                      <a:pt x="15038" y="54580"/>
                    </a:cubicBezTo>
                    <a:moveTo>
                      <a:pt x="40908" y="46505"/>
                    </a:moveTo>
                    <a:cubicBezTo>
                      <a:pt x="43888" y="44850"/>
                      <a:pt x="46367" y="42421"/>
                      <a:pt x="48085" y="39477"/>
                    </a:cubicBezTo>
                    <a:cubicBezTo>
                      <a:pt x="49781" y="36304"/>
                      <a:pt x="50656" y="32757"/>
                      <a:pt x="50627" y="29159"/>
                    </a:cubicBezTo>
                    <a:cubicBezTo>
                      <a:pt x="50656" y="25609"/>
                      <a:pt x="49781" y="22110"/>
                      <a:pt x="48085" y="18991"/>
                    </a:cubicBezTo>
                    <a:cubicBezTo>
                      <a:pt x="46414" y="15972"/>
                      <a:pt x="43927" y="13485"/>
                      <a:pt x="40908" y="11813"/>
                    </a:cubicBezTo>
                    <a:cubicBezTo>
                      <a:pt x="34549" y="8437"/>
                      <a:pt x="26929" y="8437"/>
                      <a:pt x="20571" y="11813"/>
                    </a:cubicBezTo>
                    <a:cubicBezTo>
                      <a:pt x="17488" y="13397"/>
                      <a:pt x="14977" y="15907"/>
                      <a:pt x="13393" y="18991"/>
                    </a:cubicBezTo>
                    <a:cubicBezTo>
                      <a:pt x="11630" y="22083"/>
                      <a:pt x="10751" y="25600"/>
                      <a:pt x="10851" y="29159"/>
                    </a:cubicBezTo>
                    <a:cubicBezTo>
                      <a:pt x="10747" y="32766"/>
                      <a:pt x="11626" y="36332"/>
                      <a:pt x="13393" y="39477"/>
                    </a:cubicBezTo>
                    <a:cubicBezTo>
                      <a:pt x="15034" y="42483"/>
                      <a:pt x="17532" y="44929"/>
                      <a:pt x="20571" y="46505"/>
                    </a:cubicBezTo>
                    <a:cubicBezTo>
                      <a:pt x="26923" y="49909"/>
                      <a:pt x="34555" y="49909"/>
                      <a:pt x="40908" y="4650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D651F2E4-A2AC-5A1B-0BF2-0DD12F050599}"/>
                  </a:ext>
                </a:extLst>
              </p:cNvPr>
              <p:cNvSpPr/>
              <p:nvPr/>
            </p:nvSpPr>
            <p:spPr>
              <a:xfrm>
                <a:off x="3589629" y="3208434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A6AC214D-97A6-DF5D-8347-4FAEEC090770}"/>
                  </a:ext>
                </a:extLst>
              </p:cNvPr>
              <p:cNvSpPr/>
              <p:nvPr/>
            </p:nvSpPr>
            <p:spPr>
              <a:xfrm>
                <a:off x="3654377" y="3208427"/>
                <a:ext cx="48598" cy="56829"/>
              </a:xfrm>
              <a:custGeom>
                <a:avLst/>
                <a:gdLst>
                  <a:gd name="connsiteX0" fmla="*/ 37234 w 48598"/>
                  <a:gd name="connsiteY0" fmla="*/ 56830 h 56829"/>
                  <a:gd name="connsiteX1" fmla="*/ 25570 w 48598"/>
                  <a:gd name="connsiteY1" fmla="*/ 40231 h 56829"/>
                  <a:gd name="connsiteX2" fmla="*/ 10617 w 48598"/>
                  <a:gd name="connsiteY2" fmla="*/ 40231 h 56829"/>
                  <a:gd name="connsiteX3" fmla="*/ 10617 w 48598"/>
                  <a:gd name="connsiteY3" fmla="*/ 56830 h 56829"/>
                  <a:gd name="connsiteX4" fmla="*/ 0 w 48598"/>
                  <a:gd name="connsiteY4" fmla="*/ 56830 h 56829"/>
                  <a:gd name="connsiteX5" fmla="*/ 0 w 48598"/>
                  <a:gd name="connsiteY5" fmla="*/ 7 h 56829"/>
                  <a:gd name="connsiteX6" fmla="*/ 23477 w 48598"/>
                  <a:gd name="connsiteY6" fmla="*/ 7 h 56829"/>
                  <a:gd name="connsiteX7" fmla="*/ 36187 w 48598"/>
                  <a:gd name="connsiteY7" fmla="*/ 2549 h 56829"/>
                  <a:gd name="connsiteX8" fmla="*/ 44711 w 48598"/>
                  <a:gd name="connsiteY8" fmla="*/ 9427 h 56829"/>
                  <a:gd name="connsiteX9" fmla="*/ 47552 w 48598"/>
                  <a:gd name="connsiteY9" fmla="*/ 20194 h 56829"/>
                  <a:gd name="connsiteX10" fmla="*/ 44412 w 48598"/>
                  <a:gd name="connsiteY10" fmla="*/ 31259 h 56829"/>
                  <a:gd name="connsiteX11" fmla="*/ 35440 w 48598"/>
                  <a:gd name="connsiteY11" fmla="*/ 38138 h 56829"/>
                  <a:gd name="connsiteX12" fmla="*/ 48599 w 48598"/>
                  <a:gd name="connsiteY12" fmla="*/ 56830 h 56829"/>
                  <a:gd name="connsiteX13" fmla="*/ 33346 w 48598"/>
                  <a:gd name="connsiteY13" fmla="*/ 11969 h 56829"/>
                  <a:gd name="connsiteX14" fmla="*/ 22879 w 48598"/>
                  <a:gd name="connsiteY14" fmla="*/ 8979 h 56829"/>
                  <a:gd name="connsiteX15" fmla="*/ 10617 w 48598"/>
                  <a:gd name="connsiteY15" fmla="*/ 8979 h 56829"/>
                  <a:gd name="connsiteX16" fmla="*/ 10617 w 48598"/>
                  <a:gd name="connsiteY16" fmla="*/ 31558 h 56829"/>
                  <a:gd name="connsiteX17" fmla="*/ 22879 w 48598"/>
                  <a:gd name="connsiteY17" fmla="*/ 31558 h 56829"/>
                  <a:gd name="connsiteX18" fmla="*/ 33346 w 48598"/>
                  <a:gd name="connsiteY18" fmla="*/ 28568 h 56829"/>
                  <a:gd name="connsiteX19" fmla="*/ 36935 w 48598"/>
                  <a:gd name="connsiteY19" fmla="*/ 20194 h 56829"/>
                  <a:gd name="connsiteX20" fmla="*/ 33346 w 48598"/>
                  <a:gd name="connsiteY20" fmla="*/ 11969 h 5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8598" h="56829">
                    <a:moveTo>
                      <a:pt x="37234" y="56830"/>
                    </a:moveTo>
                    <a:lnTo>
                      <a:pt x="25570" y="40231"/>
                    </a:lnTo>
                    <a:lnTo>
                      <a:pt x="10617" y="40231"/>
                    </a:lnTo>
                    <a:lnTo>
                      <a:pt x="10617" y="56830"/>
                    </a:lnTo>
                    <a:lnTo>
                      <a:pt x="0" y="56830"/>
                    </a:lnTo>
                    <a:lnTo>
                      <a:pt x="0" y="7"/>
                    </a:lnTo>
                    <a:lnTo>
                      <a:pt x="23477" y="7"/>
                    </a:lnTo>
                    <a:cubicBezTo>
                      <a:pt x="27849" y="-86"/>
                      <a:pt x="32187" y="783"/>
                      <a:pt x="36187" y="2549"/>
                    </a:cubicBezTo>
                    <a:cubicBezTo>
                      <a:pt x="39647" y="3947"/>
                      <a:pt x="42613" y="6341"/>
                      <a:pt x="44711" y="9427"/>
                    </a:cubicBezTo>
                    <a:cubicBezTo>
                      <a:pt x="46656" y="12675"/>
                      <a:pt x="47642" y="16409"/>
                      <a:pt x="47552" y="20194"/>
                    </a:cubicBezTo>
                    <a:cubicBezTo>
                      <a:pt x="47675" y="24118"/>
                      <a:pt x="46577" y="27985"/>
                      <a:pt x="44412" y="31259"/>
                    </a:cubicBezTo>
                    <a:cubicBezTo>
                      <a:pt x="42225" y="34444"/>
                      <a:pt x="39084" y="36853"/>
                      <a:pt x="35440" y="38138"/>
                    </a:cubicBezTo>
                    <a:lnTo>
                      <a:pt x="48599" y="56830"/>
                    </a:lnTo>
                    <a:close/>
                    <a:moveTo>
                      <a:pt x="33346" y="11969"/>
                    </a:moveTo>
                    <a:cubicBezTo>
                      <a:pt x="30308" y="9791"/>
                      <a:pt x="26608" y="8734"/>
                      <a:pt x="22879" y="8979"/>
                    </a:cubicBezTo>
                    <a:lnTo>
                      <a:pt x="10617" y="8979"/>
                    </a:lnTo>
                    <a:lnTo>
                      <a:pt x="10617" y="31558"/>
                    </a:lnTo>
                    <a:lnTo>
                      <a:pt x="22879" y="31558"/>
                    </a:lnTo>
                    <a:cubicBezTo>
                      <a:pt x="26620" y="31911"/>
                      <a:pt x="30357" y="30844"/>
                      <a:pt x="33346" y="28568"/>
                    </a:cubicBezTo>
                    <a:cubicBezTo>
                      <a:pt x="35815" y="26513"/>
                      <a:pt x="37150" y="23400"/>
                      <a:pt x="36935" y="20194"/>
                    </a:cubicBezTo>
                    <a:cubicBezTo>
                      <a:pt x="37126" y="17036"/>
                      <a:pt x="35791" y="13978"/>
                      <a:pt x="33346" y="11969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5E009099-D38F-8B50-CAA4-2DF09DE644EC}"/>
                  </a:ext>
                </a:extLst>
              </p:cNvPr>
              <p:cNvSpPr/>
              <p:nvPr/>
            </p:nvSpPr>
            <p:spPr>
              <a:xfrm>
                <a:off x="3752621" y="3208434"/>
                <a:ext cx="42617" cy="56823"/>
              </a:xfrm>
              <a:custGeom>
                <a:avLst/>
                <a:gdLst>
                  <a:gd name="connsiteX0" fmla="*/ 42617 w 42617"/>
                  <a:gd name="connsiteY0" fmla="*/ 48000 h 56823"/>
                  <a:gd name="connsiteX1" fmla="*/ 42617 w 42617"/>
                  <a:gd name="connsiteY1" fmla="*/ 56823 h 56823"/>
                  <a:gd name="connsiteX2" fmla="*/ 0 w 42617"/>
                  <a:gd name="connsiteY2" fmla="*/ 56823 h 56823"/>
                  <a:gd name="connsiteX3" fmla="*/ 0 w 42617"/>
                  <a:gd name="connsiteY3" fmla="*/ 0 h 56823"/>
                  <a:gd name="connsiteX4" fmla="*/ 41421 w 42617"/>
                  <a:gd name="connsiteY4" fmla="*/ 0 h 56823"/>
                  <a:gd name="connsiteX5" fmla="*/ 41421 w 42617"/>
                  <a:gd name="connsiteY5" fmla="*/ 8972 h 56823"/>
                  <a:gd name="connsiteX6" fmla="*/ 10617 w 42617"/>
                  <a:gd name="connsiteY6" fmla="*/ 8972 h 56823"/>
                  <a:gd name="connsiteX7" fmla="*/ 10617 w 42617"/>
                  <a:gd name="connsiteY7" fmla="*/ 23626 h 56823"/>
                  <a:gd name="connsiteX8" fmla="*/ 37982 w 42617"/>
                  <a:gd name="connsiteY8" fmla="*/ 23626 h 56823"/>
                  <a:gd name="connsiteX9" fmla="*/ 37982 w 42617"/>
                  <a:gd name="connsiteY9" fmla="*/ 32299 h 56823"/>
                  <a:gd name="connsiteX10" fmla="*/ 10617 w 42617"/>
                  <a:gd name="connsiteY10" fmla="*/ 32299 h 56823"/>
                  <a:gd name="connsiteX11" fmla="*/ 10617 w 42617"/>
                  <a:gd name="connsiteY11" fmla="*/ 48000 h 56823"/>
                  <a:gd name="connsiteX12" fmla="*/ 42617 w 42617"/>
                  <a:gd name="connsiteY12" fmla="*/ 4800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823">
                    <a:moveTo>
                      <a:pt x="42617" y="48000"/>
                    </a:moveTo>
                    <a:lnTo>
                      <a:pt x="42617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972"/>
                    </a:lnTo>
                    <a:lnTo>
                      <a:pt x="10617" y="8972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8000"/>
                    </a:lnTo>
                    <a:lnTo>
                      <a:pt x="42617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228E3D53-0C0B-120A-E7F2-310F4F2C0860}"/>
                  </a:ext>
                </a:extLst>
              </p:cNvPr>
              <p:cNvSpPr/>
              <p:nvPr/>
            </p:nvSpPr>
            <p:spPr>
              <a:xfrm>
                <a:off x="3906941" y="3208425"/>
                <a:ext cx="55782" cy="56989"/>
              </a:xfrm>
              <a:custGeom>
                <a:avLst/>
                <a:gdLst>
                  <a:gd name="connsiteX0" fmla="*/ 0 w 55782"/>
                  <a:gd name="connsiteY0" fmla="*/ 9 h 56989"/>
                  <a:gd name="connsiteX1" fmla="*/ 24823 w 55782"/>
                  <a:gd name="connsiteY1" fmla="*/ 9 h 56989"/>
                  <a:gd name="connsiteX2" fmla="*/ 40972 w 55782"/>
                  <a:gd name="connsiteY2" fmla="*/ 3597 h 56989"/>
                  <a:gd name="connsiteX3" fmla="*/ 51888 w 55782"/>
                  <a:gd name="connsiteY3" fmla="*/ 13616 h 56989"/>
                  <a:gd name="connsiteX4" fmla="*/ 55776 w 55782"/>
                  <a:gd name="connsiteY4" fmla="*/ 28570 h 56989"/>
                  <a:gd name="connsiteX5" fmla="*/ 51888 w 55782"/>
                  <a:gd name="connsiteY5" fmla="*/ 43523 h 56989"/>
                  <a:gd name="connsiteX6" fmla="*/ 40972 w 55782"/>
                  <a:gd name="connsiteY6" fmla="*/ 53392 h 56989"/>
                  <a:gd name="connsiteX7" fmla="*/ 24823 w 55782"/>
                  <a:gd name="connsiteY7" fmla="*/ 56981 h 56989"/>
                  <a:gd name="connsiteX8" fmla="*/ 0 w 55782"/>
                  <a:gd name="connsiteY8" fmla="*/ 56981 h 56989"/>
                  <a:gd name="connsiteX9" fmla="*/ 24524 w 55782"/>
                  <a:gd name="connsiteY9" fmla="*/ 47710 h 56989"/>
                  <a:gd name="connsiteX10" fmla="*/ 35440 w 55782"/>
                  <a:gd name="connsiteY10" fmla="*/ 45317 h 56989"/>
                  <a:gd name="connsiteX11" fmla="*/ 42767 w 55782"/>
                  <a:gd name="connsiteY11" fmla="*/ 38588 h 56989"/>
                  <a:gd name="connsiteX12" fmla="*/ 45309 w 55782"/>
                  <a:gd name="connsiteY12" fmla="*/ 28270 h 56989"/>
                  <a:gd name="connsiteX13" fmla="*/ 42767 w 55782"/>
                  <a:gd name="connsiteY13" fmla="*/ 18102 h 56989"/>
                  <a:gd name="connsiteX14" fmla="*/ 35440 w 55782"/>
                  <a:gd name="connsiteY14" fmla="*/ 11224 h 56989"/>
                  <a:gd name="connsiteX15" fmla="*/ 24524 w 55782"/>
                  <a:gd name="connsiteY15" fmla="*/ 8831 h 56989"/>
                  <a:gd name="connsiteX16" fmla="*/ 10766 w 55782"/>
                  <a:gd name="connsiteY16" fmla="*/ 8831 h 56989"/>
                  <a:gd name="connsiteX17" fmla="*/ 10766 w 55782"/>
                  <a:gd name="connsiteY17" fmla="*/ 47710 h 56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782" h="56989">
                    <a:moveTo>
                      <a:pt x="0" y="9"/>
                    </a:moveTo>
                    <a:lnTo>
                      <a:pt x="24823" y="9"/>
                    </a:lnTo>
                    <a:cubicBezTo>
                      <a:pt x="30417" y="-116"/>
                      <a:pt x="35957" y="1117"/>
                      <a:pt x="40972" y="3597"/>
                    </a:cubicBezTo>
                    <a:cubicBezTo>
                      <a:pt x="45500" y="5815"/>
                      <a:pt x="49291" y="9295"/>
                      <a:pt x="51888" y="13616"/>
                    </a:cubicBezTo>
                    <a:cubicBezTo>
                      <a:pt x="54541" y="18146"/>
                      <a:pt x="55887" y="23321"/>
                      <a:pt x="55776" y="28570"/>
                    </a:cubicBezTo>
                    <a:cubicBezTo>
                      <a:pt x="55863" y="33815"/>
                      <a:pt x="54520" y="38985"/>
                      <a:pt x="51888" y="43523"/>
                    </a:cubicBezTo>
                    <a:cubicBezTo>
                      <a:pt x="49282" y="47800"/>
                      <a:pt x="45490" y="51229"/>
                      <a:pt x="40972" y="53392"/>
                    </a:cubicBezTo>
                    <a:cubicBezTo>
                      <a:pt x="35957" y="55873"/>
                      <a:pt x="30417" y="57105"/>
                      <a:pt x="24823" y="56981"/>
                    </a:cubicBezTo>
                    <a:lnTo>
                      <a:pt x="0" y="56981"/>
                    </a:lnTo>
                    <a:close/>
                    <a:moveTo>
                      <a:pt x="24524" y="47710"/>
                    </a:moveTo>
                    <a:cubicBezTo>
                      <a:pt x="28304" y="47821"/>
                      <a:pt x="32053" y="47000"/>
                      <a:pt x="35440" y="45317"/>
                    </a:cubicBezTo>
                    <a:cubicBezTo>
                      <a:pt x="38535" y="43910"/>
                      <a:pt x="41101" y="41552"/>
                      <a:pt x="42767" y="38588"/>
                    </a:cubicBezTo>
                    <a:cubicBezTo>
                      <a:pt x="44480" y="35423"/>
                      <a:pt x="45357" y="31870"/>
                      <a:pt x="45309" y="28270"/>
                    </a:cubicBezTo>
                    <a:cubicBezTo>
                      <a:pt x="45379" y="24716"/>
                      <a:pt x="44501" y="21207"/>
                      <a:pt x="42767" y="18102"/>
                    </a:cubicBezTo>
                    <a:cubicBezTo>
                      <a:pt x="41064" y="15131"/>
                      <a:pt x="38513" y="12735"/>
                      <a:pt x="35440" y="11224"/>
                    </a:cubicBezTo>
                    <a:cubicBezTo>
                      <a:pt x="32053" y="9541"/>
                      <a:pt x="28304" y="8720"/>
                      <a:pt x="24524" y="8831"/>
                    </a:cubicBezTo>
                    <a:lnTo>
                      <a:pt x="10766" y="8831"/>
                    </a:lnTo>
                    <a:lnTo>
                      <a:pt x="10766" y="4771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9EEDDB17-BC93-0B3C-DE7B-C6DB841E9B13}"/>
                  </a:ext>
                </a:extLst>
              </p:cNvPr>
              <p:cNvSpPr/>
              <p:nvPr/>
            </p:nvSpPr>
            <p:spPr>
              <a:xfrm>
                <a:off x="4012960" y="3208434"/>
                <a:ext cx="42617" cy="56823"/>
              </a:xfrm>
              <a:custGeom>
                <a:avLst/>
                <a:gdLst>
                  <a:gd name="connsiteX0" fmla="*/ 42617 w 42617"/>
                  <a:gd name="connsiteY0" fmla="*/ 48000 h 56823"/>
                  <a:gd name="connsiteX1" fmla="*/ 42617 w 42617"/>
                  <a:gd name="connsiteY1" fmla="*/ 56823 h 56823"/>
                  <a:gd name="connsiteX2" fmla="*/ 0 w 42617"/>
                  <a:gd name="connsiteY2" fmla="*/ 56823 h 56823"/>
                  <a:gd name="connsiteX3" fmla="*/ 0 w 42617"/>
                  <a:gd name="connsiteY3" fmla="*/ 0 h 56823"/>
                  <a:gd name="connsiteX4" fmla="*/ 41421 w 42617"/>
                  <a:gd name="connsiteY4" fmla="*/ 0 h 56823"/>
                  <a:gd name="connsiteX5" fmla="*/ 41421 w 42617"/>
                  <a:gd name="connsiteY5" fmla="*/ 8972 h 56823"/>
                  <a:gd name="connsiteX6" fmla="*/ 10617 w 42617"/>
                  <a:gd name="connsiteY6" fmla="*/ 8972 h 56823"/>
                  <a:gd name="connsiteX7" fmla="*/ 10617 w 42617"/>
                  <a:gd name="connsiteY7" fmla="*/ 23626 h 56823"/>
                  <a:gd name="connsiteX8" fmla="*/ 37982 w 42617"/>
                  <a:gd name="connsiteY8" fmla="*/ 23626 h 56823"/>
                  <a:gd name="connsiteX9" fmla="*/ 37982 w 42617"/>
                  <a:gd name="connsiteY9" fmla="*/ 32299 h 56823"/>
                  <a:gd name="connsiteX10" fmla="*/ 10617 w 42617"/>
                  <a:gd name="connsiteY10" fmla="*/ 32299 h 56823"/>
                  <a:gd name="connsiteX11" fmla="*/ 10617 w 42617"/>
                  <a:gd name="connsiteY11" fmla="*/ 48000 h 56823"/>
                  <a:gd name="connsiteX12" fmla="*/ 42617 w 42617"/>
                  <a:gd name="connsiteY12" fmla="*/ 4800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823">
                    <a:moveTo>
                      <a:pt x="42617" y="48000"/>
                    </a:moveTo>
                    <a:lnTo>
                      <a:pt x="42617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972"/>
                    </a:lnTo>
                    <a:lnTo>
                      <a:pt x="10617" y="8972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8000"/>
                    </a:lnTo>
                    <a:lnTo>
                      <a:pt x="42617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B81952C1-57AD-5168-137D-873B7EB27A05}"/>
                  </a:ext>
                </a:extLst>
              </p:cNvPr>
              <p:cNvSpPr/>
              <p:nvPr/>
            </p:nvSpPr>
            <p:spPr>
              <a:xfrm>
                <a:off x="4101484" y="3207372"/>
                <a:ext cx="45321" cy="58347"/>
              </a:xfrm>
              <a:custGeom>
                <a:avLst/>
                <a:gdLst>
                  <a:gd name="connsiteX0" fmla="*/ 9570 w 45321"/>
                  <a:gd name="connsiteY0" fmla="*/ 56838 h 58347"/>
                  <a:gd name="connsiteX1" fmla="*/ 0 w 45321"/>
                  <a:gd name="connsiteY1" fmla="*/ 51903 h 58347"/>
                  <a:gd name="connsiteX2" fmla="*/ 3589 w 45321"/>
                  <a:gd name="connsiteY2" fmla="*/ 43679 h 58347"/>
                  <a:gd name="connsiteX3" fmla="*/ 12112 w 45321"/>
                  <a:gd name="connsiteY3" fmla="*/ 48165 h 58347"/>
                  <a:gd name="connsiteX4" fmla="*/ 22281 w 45321"/>
                  <a:gd name="connsiteY4" fmla="*/ 49959 h 58347"/>
                  <a:gd name="connsiteX5" fmla="*/ 31701 w 45321"/>
                  <a:gd name="connsiteY5" fmla="*/ 47866 h 58347"/>
                  <a:gd name="connsiteX6" fmla="*/ 34841 w 45321"/>
                  <a:gd name="connsiteY6" fmla="*/ 42482 h 58347"/>
                  <a:gd name="connsiteX7" fmla="*/ 33197 w 45321"/>
                  <a:gd name="connsiteY7" fmla="*/ 38594 h 58347"/>
                  <a:gd name="connsiteX8" fmla="*/ 28711 w 45321"/>
                  <a:gd name="connsiteY8" fmla="*/ 36052 h 58347"/>
                  <a:gd name="connsiteX9" fmla="*/ 21383 w 45321"/>
                  <a:gd name="connsiteY9" fmla="*/ 33809 h 58347"/>
                  <a:gd name="connsiteX10" fmla="*/ 10916 w 45321"/>
                  <a:gd name="connsiteY10" fmla="*/ 30669 h 58347"/>
                  <a:gd name="connsiteX11" fmla="*/ 4037 w 45321"/>
                  <a:gd name="connsiteY11" fmla="*/ 25884 h 58347"/>
                  <a:gd name="connsiteX12" fmla="*/ 1196 w 45321"/>
                  <a:gd name="connsiteY12" fmla="*/ 16912 h 58347"/>
                  <a:gd name="connsiteX13" fmla="*/ 3738 w 45321"/>
                  <a:gd name="connsiteY13" fmla="*/ 8389 h 58347"/>
                  <a:gd name="connsiteX14" fmla="*/ 11365 w 45321"/>
                  <a:gd name="connsiteY14" fmla="*/ 2258 h 58347"/>
                  <a:gd name="connsiteX15" fmla="*/ 24075 w 45321"/>
                  <a:gd name="connsiteY15" fmla="*/ 15 h 58347"/>
                  <a:gd name="connsiteX16" fmla="*/ 34243 w 45321"/>
                  <a:gd name="connsiteY16" fmla="*/ 1360 h 58347"/>
                  <a:gd name="connsiteX17" fmla="*/ 42916 w 45321"/>
                  <a:gd name="connsiteY17" fmla="*/ 5099 h 58347"/>
                  <a:gd name="connsiteX18" fmla="*/ 39627 w 45321"/>
                  <a:gd name="connsiteY18" fmla="*/ 13174 h 58347"/>
                  <a:gd name="connsiteX19" fmla="*/ 31851 w 45321"/>
                  <a:gd name="connsiteY19" fmla="*/ 9884 h 58347"/>
                  <a:gd name="connsiteX20" fmla="*/ 23925 w 45321"/>
                  <a:gd name="connsiteY20" fmla="*/ 8837 h 58347"/>
                  <a:gd name="connsiteX21" fmla="*/ 14654 w 45321"/>
                  <a:gd name="connsiteY21" fmla="*/ 10931 h 58347"/>
                  <a:gd name="connsiteX22" fmla="*/ 11664 w 45321"/>
                  <a:gd name="connsiteY22" fmla="*/ 16463 h 58347"/>
                  <a:gd name="connsiteX23" fmla="*/ 13309 w 45321"/>
                  <a:gd name="connsiteY23" fmla="*/ 20501 h 58347"/>
                  <a:gd name="connsiteX24" fmla="*/ 17794 w 45321"/>
                  <a:gd name="connsiteY24" fmla="*/ 22893 h 58347"/>
                  <a:gd name="connsiteX25" fmla="*/ 25122 w 45321"/>
                  <a:gd name="connsiteY25" fmla="*/ 24837 h 58347"/>
                  <a:gd name="connsiteX26" fmla="*/ 35440 w 45321"/>
                  <a:gd name="connsiteY26" fmla="*/ 27977 h 58347"/>
                  <a:gd name="connsiteX27" fmla="*/ 42318 w 45321"/>
                  <a:gd name="connsiteY27" fmla="*/ 32763 h 58347"/>
                  <a:gd name="connsiteX28" fmla="*/ 45309 w 45321"/>
                  <a:gd name="connsiteY28" fmla="*/ 41585 h 58347"/>
                  <a:gd name="connsiteX29" fmla="*/ 42767 w 45321"/>
                  <a:gd name="connsiteY29" fmla="*/ 50108 h 58347"/>
                  <a:gd name="connsiteX30" fmla="*/ 34991 w 45321"/>
                  <a:gd name="connsiteY30" fmla="*/ 56090 h 58347"/>
                  <a:gd name="connsiteX31" fmla="*/ 22281 w 45321"/>
                  <a:gd name="connsiteY31" fmla="*/ 58333 h 58347"/>
                  <a:gd name="connsiteX32" fmla="*/ 9570 w 45321"/>
                  <a:gd name="connsiteY32" fmla="*/ 56538 h 58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21" h="58347">
                    <a:moveTo>
                      <a:pt x="9570" y="56838"/>
                    </a:moveTo>
                    <a:cubicBezTo>
                      <a:pt x="6061" y="55903"/>
                      <a:pt x="2796" y="54221"/>
                      <a:pt x="0" y="51903"/>
                    </a:cubicBezTo>
                    <a:lnTo>
                      <a:pt x="3589" y="43679"/>
                    </a:lnTo>
                    <a:cubicBezTo>
                      <a:pt x="6194" y="45587"/>
                      <a:pt x="9065" y="47097"/>
                      <a:pt x="12112" y="48165"/>
                    </a:cubicBezTo>
                    <a:cubicBezTo>
                      <a:pt x="15378" y="49325"/>
                      <a:pt x="18814" y="49932"/>
                      <a:pt x="22281" y="49959"/>
                    </a:cubicBezTo>
                    <a:cubicBezTo>
                      <a:pt x="25557" y="50174"/>
                      <a:pt x="28826" y="49449"/>
                      <a:pt x="31701" y="47866"/>
                    </a:cubicBezTo>
                    <a:cubicBezTo>
                      <a:pt x="33650" y="46777"/>
                      <a:pt x="34853" y="44715"/>
                      <a:pt x="34841" y="42482"/>
                    </a:cubicBezTo>
                    <a:cubicBezTo>
                      <a:pt x="34846" y="41017"/>
                      <a:pt x="34251" y="39613"/>
                      <a:pt x="33197" y="38594"/>
                    </a:cubicBezTo>
                    <a:cubicBezTo>
                      <a:pt x="31885" y="37456"/>
                      <a:pt x="30360" y="36592"/>
                      <a:pt x="28711" y="36052"/>
                    </a:cubicBezTo>
                    <a:lnTo>
                      <a:pt x="21383" y="33809"/>
                    </a:lnTo>
                    <a:cubicBezTo>
                      <a:pt x="17829" y="32993"/>
                      <a:pt x="14333" y="31945"/>
                      <a:pt x="10916" y="30669"/>
                    </a:cubicBezTo>
                    <a:cubicBezTo>
                      <a:pt x="8286" y="29624"/>
                      <a:pt x="5932" y="27986"/>
                      <a:pt x="4037" y="25884"/>
                    </a:cubicBezTo>
                    <a:cubicBezTo>
                      <a:pt x="2017" y="23346"/>
                      <a:pt x="1005" y="20151"/>
                      <a:pt x="1196" y="16912"/>
                    </a:cubicBezTo>
                    <a:cubicBezTo>
                      <a:pt x="1159" y="13879"/>
                      <a:pt x="2046" y="10907"/>
                      <a:pt x="3738" y="8389"/>
                    </a:cubicBezTo>
                    <a:cubicBezTo>
                      <a:pt x="5613" y="5631"/>
                      <a:pt x="8269" y="3497"/>
                      <a:pt x="11365" y="2258"/>
                    </a:cubicBezTo>
                    <a:cubicBezTo>
                      <a:pt x="15403" y="646"/>
                      <a:pt x="19729" y="-117"/>
                      <a:pt x="24075" y="15"/>
                    </a:cubicBezTo>
                    <a:cubicBezTo>
                      <a:pt x="27510" y="10"/>
                      <a:pt x="30928" y="463"/>
                      <a:pt x="34243" y="1360"/>
                    </a:cubicBezTo>
                    <a:cubicBezTo>
                      <a:pt x="37321" y="2118"/>
                      <a:pt x="40252" y="3382"/>
                      <a:pt x="42916" y="5099"/>
                    </a:cubicBezTo>
                    <a:lnTo>
                      <a:pt x="39627" y="13174"/>
                    </a:lnTo>
                    <a:cubicBezTo>
                      <a:pt x="37161" y="11801"/>
                      <a:pt x="34554" y="10697"/>
                      <a:pt x="31851" y="9884"/>
                    </a:cubicBezTo>
                    <a:cubicBezTo>
                      <a:pt x="29268" y="9183"/>
                      <a:pt x="26602" y="8830"/>
                      <a:pt x="23925" y="8837"/>
                    </a:cubicBezTo>
                    <a:cubicBezTo>
                      <a:pt x="20692" y="8560"/>
                      <a:pt x="17454" y="9292"/>
                      <a:pt x="14654" y="10931"/>
                    </a:cubicBezTo>
                    <a:cubicBezTo>
                      <a:pt x="12784" y="12148"/>
                      <a:pt x="11658" y="14231"/>
                      <a:pt x="11664" y="16463"/>
                    </a:cubicBezTo>
                    <a:cubicBezTo>
                      <a:pt x="11637" y="17978"/>
                      <a:pt x="12230" y="19436"/>
                      <a:pt x="13309" y="20501"/>
                    </a:cubicBezTo>
                    <a:cubicBezTo>
                      <a:pt x="14630" y="21589"/>
                      <a:pt x="16156" y="22403"/>
                      <a:pt x="17794" y="22893"/>
                    </a:cubicBezTo>
                    <a:lnTo>
                      <a:pt x="25122" y="24837"/>
                    </a:lnTo>
                    <a:cubicBezTo>
                      <a:pt x="28622" y="25673"/>
                      <a:pt x="32068" y="26721"/>
                      <a:pt x="35440" y="27977"/>
                    </a:cubicBezTo>
                    <a:cubicBezTo>
                      <a:pt x="38089" y="28987"/>
                      <a:pt x="40450" y="30629"/>
                      <a:pt x="42318" y="32763"/>
                    </a:cubicBezTo>
                    <a:cubicBezTo>
                      <a:pt x="44383" y="35227"/>
                      <a:pt x="45449" y="38375"/>
                      <a:pt x="45309" y="41585"/>
                    </a:cubicBezTo>
                    <a:cubicBezTo>
                      <a:pt x="45346" y="44618"/>
                      <a:pt x="44459" y="47590"/>
                      <a:pt x="42767" y="50108"/>
                    </a:cubicBezTo>
                    <a:cubicBezTo>
                      <a:pt x="40787" y="52791"/>
                      <a:pt x="38092" y="54864"/>
                      <a:pt x="34991" y="56090"/>
                    </a:cubicBezTo>
                    <a:cubicBezTo>
                      <a:pt x="30954" y="57702"/>
                      <a:pt x="26626" y="58465"/>
                      <a:pt x="22281" y="58333"/>
                    </a:cubicBezTo>
                    <a:cubicBezTo>
                      <a:pt x="17980" y="58334"/>
                      <a:pt x="13702" y="57730"/>
                      <a:pt x="9570" y="56538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0C0A064E-8DE7-82B1-51BA-23DC3982BC1C}"/>
                  </a:ext>
                </a:extLst>
              </p:cNvPr>
              <p:cNvSpPr/>
              <p:nvPr/>
            </p:nvSpPr>
            <p:spPr>
              <a:xfrm>
                <a:off x="4251617" y="3208434"/>
                <a:ext cx="62056" cy="56823"/>
              </a:xfrm>
              <a:custGeom>
                <a:avLst/>
                <a:gdLst>
                  <a:gd name="connsiteX0" fmla="*/ 52187 w 62056"/>
                  <a:gd name="connsiteY0" fmla="*/ 56823 h 56823"/>
                  <a:gd name="connsiteX1" fmla="*/ 52038 w 62056"/>
                  <a:gd name="connsiteY1" fmla="*/ 19140 h 56823"/>
                  <a:gd name="connsiteX2" fmla="*/ 33496 w 62056"/>
                  <a:gd name="connsiteY2" fmla="*/ 50393 h 56823"/>
                  <a:gd name="connsiteX3" fmla="*/ 28711 w 62056"/>
                  <a:gd name="connsiteY3" fmla="*/ 50393 h 56823"/>
                  <a:gd name="connsiteX4" fmla="*/ 10019 w 62056"/>
                  <a:gd name="connsiteY4" fmla="*/ 19739 h 56823"/>
                  <a:gd name="connsiteX5" fmla="*/ 10019 w 62056"/>
                  <a:gd name="connsiteY5" fmla="*/ 56823 h 56823"/>
                  <a:gd name="connsiteX6" fmla="*/ 0 w 62056"/>
                  <a:gd name="connsiteY6" fmla="*/ 56823 h 56823"/>
                  <a:gd name="connsiteX7" fmla="*/ 0 w 62056"/>
                  <a:gd name="connsiteY7" fmla="*/ 0 h 56823"/>
                  <a:gd name="connsiteX8" fmla="*/ 8673 w 62056"/>
                  <a:gd name="connsiteY8" fmla="*/ 0 h 56823"/>
                  <a:gd name="connsiteX9" fmla="*/ 31253 w 62056"/>
                  <a:gd name="connsiteY9" fmla="*/ 37683 h 56823"/>
                  <a:gd name="connsiteX10" fmla="*/ 53384 w 62056"/>
                  <a:gd name="connsiteY10" fmla="*/ 0 h 56823"/>
                  <a:gd name="connsiteX11" fmla="*/ 62057 w 62056"/>
                  <a:gd name="connsiteY11" fmla="*/ 0 h 56823"/>
                  <a:gd name="connsiteX12" fmla="*/ 62057 w 62056"/>
                  <a:gd name="connsiteY12" fmla="*/ 56823 h 56823"/>
                  <a:gd name="connsiteX13" fmla="*/ 52187 w 62056"/>
                  <a:gd name="connsiteY1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056" h="56823">
                    <a:moveTo>
                      <a:pt x="52187" y="56823"/>
                    </a:moveTo>
                    <a:lnTo>
                      <a:pt x="52038" y="19140"/>
                    </a:lnTo>
                    <a:lnTo>
                      <a:pt x="33496" y="50393"/>
                    </a:lnTo>
                    <a:lnTo>
                      <a:pt x="28711" y="50393"/>
                    </a:lnTo>
                    <a:lnTo>
                      <a:pt x="10019" y="19739"/>
                    </a:lnTo>
                    <a:lnTo>
                      <a:pt x="10019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253" y="37683"/>
                    </a:lnTo>
                    <a:lnTo>
                      <a:pt x="53384" y="0"/>
                    </a:lnTo>
                    <a:lnTo>
                      <a:pt x="62057" y="0"/>
                    </a:lnTo>
                    <a:lnTo>
                      <a:pt x="62057" y="56823"/>
                    </a:lnTo>
                    <a:lnTo>
                      <a:pt x="52187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DCF3C894-14C1-1FA6-A832-187E58D6D1FD}"/>
                  </a:ext>
                </a:extLst>
              </p:cNvPr>
              <p:cNvSpPr/>
              <p:nvPr/>
            </p:nvSpPr>
            <p:spPr>
              <a:xfrm>
                <a:off x="4367954" y="3192433"/>
                <a:ext cx="42617" cy="72524"/>
              </a:xfrm>
              <a:custGeom>
                <a:avLst/>
                <a:gdLst>
                  <a:gd name="connsiteX0" fmla="*/ 42617 w 42617"/>
                  <a:gd name="connsiteY0" fmla="*/ 63702 h 72524"/>
                  <a:gd name="connsiteX1" fmla="*/ 42617 w 42617"/>
                  <a:gd name="connsiteY1" fmla="*/ 72524 h 72524"/>
                  <a:gd name="connsiteX2" fmla="*/ 0 w 42617"/>
                  <a:gd name="connsiteY2" fmla="*/ 72524 h 72524"/>
                  <a:gd name="connsiteX3" fmla="*/ 0 w 42617"/>
                  <a:gd name="connsiteY3" fmla="*/ 15701 h 72524"/>
                  <a:gd name="connsiteX4" fmla="*/ 41421 w 42617"/>
                  <a:gd name="connsiteY4" fmla="*/ 15701 h 72524"/>
                  <a:gd name="connsiteX5" fmla="*/ 41421 w 42617"/>
                  <a:gd name="connsiteY5" fmla="*/ 24673 h 72524"/>
                  <a:gd name="connsiteX6" fmla="*/ 10617 w 42617"/>
                  <a:gd name="connsiteY6" fmla="*/ 24673 h 72524"/>
                  <a:gd name="connsiteX7" fmla="*/ 10617 w 42617"/>
                  <a:gd name="connsiteY7" fmla="*/ 39627 h 72524"/>
                  <a:gd name="connsiteX8" fmla="*/ 37982 w 42617"/>
                  <a:gd name="connsiteY8" fmla="*/ 39627 h 72524"/>
                  <a:gd name="connsiteX9" fmla="*/ 37982 w 42617"/>
                  <a:gd name="connsiteY9" fmla="*/ 48748 h 72524"/>
                  <a:gd name="connsiteX10" fmla="*/ 10617 w 42617"/>
                  <a:gd name="connsiteY10" fmla="*/ 48748 h 72524"/>
                  <a:gd name="connsiteX11" fmla="*/ 10617 w 42617"/>
                  <a:gd name="connsiteY11" fmla="*/ 63702 h 72524"/>
                  <a:gd name="connsiteX12" fmla="*/ 24972 w 42617"/>
                  <a:gd name="connsiteY12" fmla="*/ 0 h 72524"/>
                  <a:gd name="connsiteX13" fmla="*/ 36935 w 42617"/>
                  <a:gd name="connsiteY13" fmla="*/ 0 h 72524"/>
                  <a:gd name="connsiteX14" fmla="*/ 22879 w 42617"/>
                  <a:gd name="connsiteY14" fmla="*/ 11215 h 72524"/>
                  <a:gd name="connsiteX15" fmla="*/ 14056 w 42617"/>
                  <a:gd name="connsiteY15" fmla="*/ 11215 h 72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2617" h="72524">
                    <a:moveTo>
                      <a:pt x="42617" y="63702"/>
                    </a:moveTo>
                    <a:lnTo>
                      <a:pt x="42617" y="72524"/>
                    </a:lnTo>
                    <a:lnTo>
                      <a:pt x="0" y="72524"/>
                    </a:lnTo>
                    <a:lnTo>
                      <a:pt x="0" y="15701"/>
                    </a:lnTo>
                    <a:lnTo>
                      <a:pt x="41421" y="15701"/>
                    </a:lnTo>
                    <a:lnTo>
                      <a:pt x="41421" y="24673"/>
                    </a:lnTo>
                    <a:lnTo>
                      <a:pt x="10617" y="24673"/>
                    </a:lnTo>
                    <a:lnTo>
                      <a:pt x="10617" y="39627"/>
                    </a:lnTo>
                    <a:lnTo>
                      <a:pt x="37982" y="39627"/>
                    </a:lnTo>
                    <a:lnTo>
                      <a:pt x="37982" y="48748"/>
                    </a:lnTo>
                    <a:lnTo>
                      <a:pt x="10617" y="48748"/>
                    </a:lnTo>
                    <a:lnTo>
                      <a:pt x="10617" y="63702"/>
                    </a:lnTo>
                    <a:close/>
                    <a:moveTo>
                      <a:pt x="24972" y="0"/>
                    </a:moveTo>
                    <a:lnTo>
                      <a:pt x="36935" y="0"/>
                    </a:lnTo>
                    <a:lnTo>
                      <a:pt x="22879" y="11215"/>
                    </a:lnTo>
                    <a:lnTo>
                      <a:pt x="14056" y="11215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D1C51626-2882-B935-9A6A-EA8A5F2434E1}"/>
                  </a:ext>
                </a:extLst>
              </p:cNvPr>
              <p:cNvSpPr/>
              <p:nvPr/>
            </p:nvSpPr>
            <p:spPr>
              <a:xfrm>
                <a:off x="4453936" y="3208434"/>
                <a:ext cx="48150" cy="56823"/>
              </a:xfrm>
              <a:custGeom>
                <a:avLst/>
                <a:gdLst>
                  <a:gd name="connsiteX0" fmla="*/ 18841 w 48150"/>
                  <a:gd name="connsiteY0" fmla="*/ 8972 h 56823"/>
                  <a:gd name="connsiteX1" fmla="*/ 0 w 48150"/>
                  <a:gd name="connsiteY1" fmla="*/ 8972 h 56823"/>
                  <a:gd name="connsiteX2" fmla="*/ 0 w 48150"/>
                  <a:gd name="connsiteY2" fmla="*/ 0 h 56823"/>
                  <a:gd name="connsiteX3" fmla="*/ 48150 w 48150"/>
                  <a:gd name="connsiteY3" fmla="*/ 0 h 56823"/>
                  <a:gd name="connsiteX4" fmla="*/ 48150 w 48150"/>
                  <a:gd name="connsiteY4" fmla="*/ 8972 h 56823"/>
                  <a:gd name="connsiteX5" fmla="*/ 29309 w 48150"/>
                  <a:gd name="connsiteY5" fmla="*/ 8972 h 56823"/>
                  <a:gd name="connsiteX6" fmla="*/ 29309 w 48150"/>
                  <a:gd name="connsiteY6" fmla="*/ 56823 h 56823"/>
                  <a:gd name="connsiteX7" fmla="*/ 18841 w 48150"/>
                  <a:gd name="connsiteY7" fmla="*/ 56823 h 56823"/>
                  <a:gd name="connsiteX8" fmla="*/ 18841 w 48150"/>
                  <a:gd name="connsiteY8" fmla="*/ 8972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823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309" y="8972"/>
                    </a:lnTo>
                    <a:lnTo>
                      <a:pt x="29309" y="56823"/>
                    </a:lnTo>
                    <a:lnTo>
                      <a:pt x="18841" y="5682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A0D9714F-4F17-605C-00E8-69602D43402E}"/>
                  </a:ext>
                </a:extLst>
              </p:cNvPr>
              <p:cNvSpPr/>
              <p:nvPr/>
            </p:nvSpPr>
            <p:spPr>
              <a:xfrm>
                <a:off x="4548891" y="3208434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DE4AD717-927E-CF0E-0352-7D1911100DF2}"/>
                  </a:ext>
                </a:extLst>
              </p:cNvPr>
              <p:cNvSpPr/>
              <p:nvPr/>
            </p:nvSpPr>
            <p:spPr>
              <a:xfrm>
                <a:off x="4613639" y="3208434"/>
                <a:ext cx="42617" cy="56823"/>
              </a:xfrm>
              <a:custGeom>
                <a:avLst/>
                <a:gdLst>
                  <a:gd name="connsiteX0" fmla="*/ 42617 w 42617"/>
                  <a:gd name="connsiteY0" fmla="*/ 48000 h 56823"/>
                  <a:gd name="connsiteX1" fmla="*/ 42617 w 42617"/>
                  <a:gd name="connsiteY1" fmla="*/ 56823 h 56823"/>
                  <a:gd name="connsiteX2" fmla="*/ 0 w 42617"/>
                  <a:gd name="connsiteY2" fmla="*/ 56823 h 56823"/>
                  <a:gd name="connsiteX3" fmla="*/ 0 w 42617"/>
                  <a:gd name="connsiteY3" fmla="*/ 0 h 56823"/>
                  <a:gd name="connsiteX4" fmla="*/ 41421 w 42617"/>
                  <a:gd name="connsiteY4" fmla="*/ 0 h 56823"/>
                  <a:gd name="connsiteX5" fmla="*/ 41421 w 42617"/>
                  <a:gd name="connsiteY5" fmla="*/ 8972 h 56823"/>
                  <a:gd name="connsiteX6" fmla="*/ 10617 w 42617"/>
                  <a:gd name="connsiteY6" fmla="*/ 8972 h 56823"/>
                  <a:gd name="connsiteX7" fmla="*/ 10617 w 42617"/>
                  <a:gd name="connsiteY7" fmla="*/ 23626 h 56823"/>
                  <a:gd name="connsiteX8" fmla="*/ 37982 w 42617"/>
                  <a:gd name="connsiteY8" fmla="*/ 23626 h 56823"/>
                  <a:gd name="connsiteX9" fmla="*/ 37982 w 42617"/>
                  <a:gd name="connsiteY9" fmla="*/ 32299 h 56823"/>
                  <a:gd name="connsiteX10" fmla="*/ 10617 w 42617"/>
                  <a:gd name="connsiteY10" fmla="*/ 32299 h 56823"/>
                  <a:gd name="connsiteX11" fmla="*/ 10617 w 42617"/>
                  <a:gd name="connsiteY11" fmla="*/ 48000 h 56823"/>
                  <a:gd name="connsiteX12" fmla="*/ 42617 w 42617"/>
                  <a:gd name="connsiteY12" fmla="*/ 4800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823">
                    <a:moveTo>
                      <a:pt x="42617" y="48000"/>
                    </a:moveTo>
                    <a:lnTo>
                      <a:pt x="42617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972"/>
                    </a:lnTo>
                    <a:lnTo>
                      <a:pt x="10617" y="8972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8000"/>
                    </a:lnTo>
                    <a:lnTo>
                      <a:pt x="42617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3D9E2964-EA06-2C57-6429-A3B0AAE88B9E}"/>
                  </a:ext>
                </a:extLst>
              </p:cNvPr>
              <p:cNvSpPr/>
              <p:nvPr/>
            </p:nvSpPr>
            <p:spPr>
              <a:xfrm>
                <a:off x="4707397" y="3208428"/>
                <a:ext cx="48449" cy="56828"/>
              </a:xfrm>
              <a:custGeom>
                <a:avLst/>
                <a:gdLst>
                  <a:gd name="connsiteX0" fmla="*/ 36935 w 48449"/>
                  <a:gd name="connsiteY0" fmla="*/ 56829 h 56828"/>
                  <a:gd name="connsiteX1" fmla="*/ 25421 w 48449"/>
                  <a:gd name="connsiteY1" fmla="*/ 40230 h 56828"/>
                  <a:gd name="connsiteX2" fmla="*/ 10467 w 48449"/>
                  <a:gd name="connsiteY2" fmla="*/ 40230 h 56828"/>
                  <a:gd name="connsiteX3" fmla="*/ 10467 w 48449"/>
                  <a:gd name="connsiteY3" fmla="*/ 56829 h 56828"/>
                  <a:gd name="connsiteX4" fmla="*/ 0 w 48449"/>
                  <a:gd name="connsiteY4" fmla="*/ 56829 h 56828"/>
                  <a:gd name="connsiteX5" fmla="*/ 0 w 48449"/>
                  <a:gd name="connsiteY5" fmla="*/ 6 h 56828"/>
                  <a:gd name="connsiteX6" fmla="*/ 23327 w 48449"/>
                  <a:gd name="connsiteY6" fmla="*/ 6 h 56828"/>
                  <a:gd name="connsiteX7" fmla="*/ 36187 w 48449"/>
                  <a:gd name="connsiteY7" fmla="*/ 2548 h 56828"/>
                  <a:gd name="connsiteX8" fmla="*/ 44561 w 48449"/>
                  <a:gd name="connsiteY8" fmla="*/ 9426 h 56828"/>
                  <a:gd name="connsiteX9" fmla="*/ 47552 w 48449"/>
                  <a:gd name="connsiteY9" fmla="*/ 20193 h 56828"/>
                  <a:gd name="connsiteX10" fmla="*/ 44412 w 48449"/>
                  <a:gd name="connsiteY10" fmla="*/ 31258 h 56828"/>
                  <a:gd name="connsiteX11" fmla="*/ 35440 w 48449"/>
                  <a:gd name="connsiteY11" fmla="*/ 38137 h 56828"/>
                  <a:gd name="connsiteX12" fmla="*/ 48449 w 48449"/>
                  <a:gd name="connsiteY12" fmla="*/ 56829 h 56828"/>
                  <a:gd name="connsiteX13" fmla="*/ 33197 w 48449"/>
                  <a:gd name="connsiteY13" fmla="*/ 11969 h 56828"/>
                  <a:gd name="connsiteX14" fmla="*/ 22729 w 48449"/>
                  <a:gd name="connsiteY14" fmla="*/ 8978 h 56828"/>
                  <a:gd name="connsiteX15" fmla="*/ 10318 w 48449"/>
                  <a:gd name="connsiteY15" fmla="*/ 8978 h 56828"/>
                  <a:gd name="connsiteX16" fmla="*/ 10318 w 48449"/>
                  <a:gd name="connsiteY16" fmla="*/ 31557 h 56828"/>
                  <a:gd name="connsiteX17" fmla="*/ 21982 w 48449"/>
                  <a:gd name="connsiteY17" fmla="*/ 31557 h 56828"/>
                  <a:gd name="connsiteX18" fmla="*/ 32449 w 48449"/>
                  <a:gd name="connsiteY18" fmla="*/ 28567 h 56828"/>
                  <a:gd name="connsiteX19" fmla="*/ 36038 w 48449"/>
                  <a:gd name="connsiteY19" fmla="*/ 20193 h 56828"/>
                  <a:gd name="connsiteX20" fmla="*/ 32449 w 48449"/>
                  <a:gd name="connsiteY20" fmla="*/ 11969 h 56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8449" h="56828">
                    <a:moveTo>
                      <a:pt x="36935" y="56829"/>
                    </a:moveTo>
                    <a:lnTo>
                      <a:pt x="25421" y="40230"/>
                    </a:lnTo>
                    <a:lnTo>
                      <a:pt x="10467" y="40230"/>
                    </a:lnTo>
                    <a:lnTo>
                      <a:pt x="10467" y="56829"/>
                    </a:lnTo>
                    <a:lnTo>
                      <a:pt x="0" y="56829"/>
                    </a:lnTo>
                    <a:lnTo>
                      <a:pt x="0" y="6"/>
                    </a:lnTo>
                    <a:lnTo>
                      <a:pt x="23327" y="6"/>
                    </a:lnTo>
                    <a:cubicBezTo>
                      <a:pt x="27754" y="-79"/>
                      <a:pt x="32135" y="788"/>
                      <a:pt x="36187" y="2548"/>
                    </a:cubicBezTo>
                    <a:cubicBezTo>
                      <a:pt x="39582" y="3986"/>
                      <a:pt x="42498" y="6374"/>
                      <a:pt x="44561" y="9426"/>
                    </a:cubicBezTo>
                    <a:cubicBezTo>
                      <a:pt x="46565" y="12659"/>
                      <a:pt x="47597" y="16393"/>
                      <a:pt x="47552" y="20193"/>
                    </a:cubicBezTo>
                    <a:cubicBezTo>
                      <a:pt x="47672" y="24117"/>
                      <a:pt x="46580" y="27984"/>
                      <a:pt x="44412" y="31258"/>
                    </a:cubicBezTo>
                    <a:cubicBezTo>
                      <a:pt x="42229" y="34443"/>
                      <a:pt x="39088" y="36853"/>
                      <a:pt x="35440" y="38137"/>
                    </a:cubicBezTo>
                    <a:lnTo>
                      <a:pt x="48449" y="56829"/>
                    </a:lnTo>
                    <a:close/>
                    <a:moveTo>
                      <a:pt x="33197" y="11969"/>
                    </a:moveTo>
                    <a:cubicBezTo>
                      <a:pt x="30146" y="9812"/>
                      <a:pt x="26453" y="8758"/>
                      <a:pt x="22729" y="8978"/>
                    </a:cubicBezTo>
                    <a:lnTo>
                      <a:pt x="10318" y="8978"/>
                    </a:lnTo>
                    <a:lnTo>
                      <a:pt x="10318" y="31557"/>
                    </a:lnTo>
                    <a:lnTo>
                      <a:pt x="21982" y="31557"/>
                    </a:lnTo>
                    <a:cubicBezTo>
                      <a:pt x="25720" y="31910"/>
                      <a:pt x="29458" y="30843"/>
                      <a:pt x="32449" y="28567"/>
                    </a:cubicBezTo>
                    <a:cubicBezTo>
                      <a:pt x="34916" y="26512"/>
                      <a:pt x="36247" y="23399"/>
                      <a:pt x="36038" y="20193"/>
                    </a:cubicBezTo>
                    <a:cubicBezTo>
                      <a:pt x="36232" y="17035"/>
                      <a:pt x="34901" y="13977"/>
                      <a:pt x="32449" y="11969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5A30D2F7-DFBD-7F92-DB42-5724928F3CF3}"/>
                  </a:ext>
                </a:extLst>
              </p:cNvPr>
              <p:cNvSpPr/>
              <p:nvPr/>
            </p:nvSpPr>
            <p:spPr>
              <a:xfrm>
                <a:off x="4800257" y="3207674"/>
                <a:ext cx="45332" cy="58339"/>
              </a:xfrm>
              <a:custGeom>
                <a:avLst/>
                <a:gdLst>
                  <a:gd name="connsiteX0" fmla="*/ 9720 w 45332"/>
                  <a:gd name="connsiteY0" fmla="*/ 56536 h 58339"/>
                  <a:gd name="connsiteX1" fmla="*/ 0 w 45332"/>
                  <a:gd name="connsiteY1" fmla="*/ 51601 h 58339"/>
                  <a:gd name="connsiteX2" fmla="*/ 3738 w 45332"/>
                  <a:gd name="connsiteY2" fmla="*/ 43377 h 58339"/>
                  <a:gd name="connsiteX3" fmla="*/ 12262 w 45332"/>
                  <a:gd name="connsiteY3" fmla="*/ 47863 h 58339"/>
                  <a:gd name="connsiteX4" fmla="*/ 22430 w 45332"/>
                  <a:gd name="connsiteY4" fmla="*/ 49658 h 58339"/>
                  <a:gd name="connsiteX5" fmla="*/ 31851 w 45332"/>
                  <a:gd name="connsiteY5" fmla="*/ 47564 h 58339"/>
                  <a:gd name="connsiteX6" fmla="*/ 34991 w 45332"/>
                  <a:gd name="connsiteY6" fmla="*/ 42181 h 58339"/>
                  <a:gd name="connsiteX7" fmla="*/ 33197 w 45332"/>
                  <a:gd name="connsiteY7" fmla="*/ 38293 h 58339"/>
                  <a:gd name="connsiteX8" fmla="*/ 28860 w 45332"/>
                  <a:gd name="connsiteY8" fmla="*/ 35751 h 58339"/>
                  <a:gd name="connsiteX9" fmla="*/ 21533 w 45332"/>
                  <a:gd name="connsiteY9" fmla="*/ 33807 h 58339"/>
                  <a:gd name="connsiteX10" fmla="*/ 11065 w 45332"/>
                  <a:gd name="connsiteY10" fmla="*/ 30667 h 58339"/>
                  <a:gd name="connsiteX11" fmla="*/ 4187 w 45332"/>
                  <a:gd name="connsiteY11" fmla="*/ 25882 h 58339"/>
                  <a:gd name="connsiteX12" fmla="*/ 1346 w 45332"/>
                  <a:gd name="connsiteY12" fmla="*/ 16910 h 58339"/>
                  <a:gd name="connsiteX13" fmla="*/ 3888 w 45332"/>
                  <a:gd name="connsiteY13" fmla="*/ 8386 h 58339"/>
                  <a:gd name="connsiteX14" fmla="*/ 11514 w 45332"/>
                  <a:gd name="connsiteY14" fmla="*/ 2255 h 58339"/>
                  <a:gd name="connsiteX15" fmla="*/ 24075 w 45332"/>
                  <a:gd name="connsiteY15" fmla="*/ 12 h 58339"/>
                  <a:gd name="connsiteX16" fmla="*/ 34393 w 45332"/>
                  <a:gd name="connsiteY16" fmla="*/ 1358 h 58339"/>
                  <a:gd name="connsiteX17" fmla="*/ 43066 w 45332"/>
                  <a:gd name="connsiteY17" fmla="*/ 5096 h 58339"/>
                  <a:gd name="connsiteX18" fmla="*/ 39626 w 45332"/>
                  <a:gd name="connsiteY18" fmla="*/ 13171 h 58339"/>
                  <a:gd name="connsiteX19" fmla="*/ 31851 w 45332"/>
                  <a:gd name="connsiteY19" fmla="*/ 9881 h 58339"/>
                  <a:gd name="connsiteX20" fmla="*/ 24075 w 45332"/>
                  <a:gd name="connsiteY20" fmla="*/ 8835 h 58339"/>
                  <a:gd name="connsiteX21" fmla="*/ 14804 w 45332"/>
                  <a:gd name="connsiteY21" fmla="*/ 10928 h 58339"/>
                  <a:gd name="connsiteX22" fmla="*/ 11664 w 45332"/>
                  <a:gd name="connsiteY22" fmla="*/ 16461 h 58339"/>
                  <a:gd name="connsiteX23" fmla="*/ 13458 w 45332"/>
                  <a:gd name="connsiteY23" fmla="*/ 20498 h 58339"/>
                  <a:gd name="connsiteX24" fmla="*/ 17944 w 45332"/>
                  <a:gd name="connsiteY24" fmla="*/ 22891 h 58339"/>
                  <a:gd name="connsiteX25" fmla="*/ 25122 w 45332"/>
                  <a:gd name="connsiteY25" fmla="*/ 24835 h 58339"/>
                  <a:gd name="connsiteX26" fmla="*/ 35589 w 45332"/>
                  <a:gd name="connsiteY26" fmla="*/ 27975 h 58339"/>
                  <a:gd name="connsiteX27" fmla="*/ 42468 w 45332"/>
                  <a:gd name="connsiteY27" fmla="*/ 32760 h 58339"/>
                  <a:gd name="connsiteX28" fmla="*/ 45309 w 45332"/>
                  <a:gd name="connsiteY28" fmla="*/ 41583 h 58339"/>
                  <a:gd name="connsiteX29" fmla="*/ 42767 w 45332"/>
                  <a:gd name="connsiteY29" fmla="*/ 50106 h 58339"/>
                  <a:gd name="connsiteX30" fmla="*/ 35140 w 45332"/>
                  <a:gd name="connsiteY30" fmla="*/ 56088 h 58339"/>
                  <a:gd name="connsiteX31" fmla="*/ 22430 w 45332"/>
                  <a:gd name="connsiteY31" fmla="*/ 58331 h 58339"/>
                  <a:gd name="connsiteX32" fmla="*/ 9720 w 45332"/>
                  <a:gd name="connsiteY32" fmla="*/ 56536 h 58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2" h="58339">
                    <a:moveTo>
                      <a:pt x="9720" y="56536"/>
                    </a:moveTo>
                    <a:cubicBezTo>
                      <a:pt x="6161" y="55600"/>
                      <a:pt x="2856" y="53918"/>
                      <a:pt x="0" y="51601"/>
                    </a:cubicBezTo>
                    <a:lnTo>
                      <a:pt x="3738" y="43377"/>
                    </a:lnTo>
                    <a:cubicBezTo>
                      <a:pt x="6310" y="45343"/>
                      <a:pt x="9181" y="46861"/>
                      <a:pt x="12262" y="47863"/>
                    </a:cubicBezTo>
                    <a:cubicBezTo>
                      <a:pt x="15522" y="49046"/>
                      <a:pt x="18961" y="49653"/>
                      <a:pt x="22430" y="49658"/>
                    </a:cubicBezTo>
                    <a:cubicBezTo>
                      <a:pt x="25705" y="49849"/>
                      <a:pt x="28965" y="49124"/>
                      <a:pt x="31851" y="47564"/>
                    </a:cubicBezTo>
                    <a:cubicBezTo>
                      <a:pt x="33795" y="46475"/>
                      <a:pt x="35006" y="44413"/>
                      <a:pt x="34991" y="42181"/>
                    </a:cubicBezTo>
                    <a:cubicBezTo>
                      <a:pt x="34991" y="40684"/>
                      <a:pt x="34333" y="39262"/>
                      <a:pt x="33197" y="38293"/>
                    </a:cubicBezTo>
                    <a:cubicBezTo>
                      <a:pt x="31970" y="37124"/>
                      <a:pt x="30475" y="36255"/>
                      <a:pt x="28860" y="35751"/>
                    </a:cubicBezTo>
                    <a:lnTo>
                      <a:pt x="21533" y="33807"/>
                    </a:lnTo>
                    <a:cubicBezTo>
                      <a:pt x="17974" y="32990"/>
                      <a:pt x="14475" y="31941"/>
                      <a:pt x="11065" y="30667"/>
                    </a:cubicBezTo>
                    <a:cubicBezTo>
                      <a:pt x="8434" y="29621"/>
                      <a:pt x="6086" y="27984"/>
                      <a:pt x="4187" y="25882"/>
                    </a:cubicBezTo>
                    <a:cubicBezTo>
                      <a:pt x="2168" y="23344"/>
                      <a:pt x="1151" y="20148"/>
                      <a:pt x="1346" y="16910"/>
                    </a:cubicBezTo>
                    <a:cubicBezTo>
                      <a:pt x="1316" y="13877"/>
                      <a:pt x="2198" y="10904"/>
                      <a:pt x="3888" y="8386"/>
                    </a:cubicBezTo>
                    <a:cubicBezTo>
                      <a:pt x="5757" y="5629"/>
                      <a:pt x="8419" y="3495"/>
                      <a:pt x="11514" y="2255"/>
                    </a:cubicBezTo>
                    <a:cubicBezTo>
                      <a:pt x="15506" y="655"/>
                      <a:pt x="19783" y="-107"/>
                      <a:pt x="24075" y="12"/>
                    </a:cubicBezTo>
                    <a:cubicBezTo>
                      <a:pt x="27559" y="9"/>
                      <a:pt x="31028" y="461"/>
                      <a:pt x="34393" y="1358"/>
                    </a:cubicBezTo>
                    <a:cubicBezTo>
                      <a:pt x="37458" y="2137"/>
                      <a:pt x="40389" y="3399"/>
                      <a:pt x="43066" y="5096"/>
                    </a:cubicBezTo>
                    <a:lnTo>
                      <a:pt x="39626" y="13171"/>
                    </a:lnTo>
                    <a:cubicBezTo>
                      <a:pt x="37174" y="11772"/>
                      <a:pt x="34557" y="10667"/>
                      <a:pt x="31851" y="9881"/>
                    </a:cubicBezTo>
                    <a:cubicBezTo>
                      <a:pt x="29324" y="9177"/>
                      <a:pt x="26707" y="8824"/>
                      <a:pt x="24075" y="8835"/>
                    </a:cubicBezTo>
                    <a:cubicBezTo>
                      <a:pt x="20845" y="8506"/>
                      <a:pt x="17585" y="9240"/>
                      <a:pt x="14804" y="10928"/>
                    </a:cubicBezTo>
                    <a:cubicBezTo>
                      <a:pt x="12860" y="12088"/>
                      <a:pt x="11664" y="14192"/>
                      <a:pt x="11664" y="16461"/>
                    </a:cubicBezTo>
                    <a:cubicBezTo>
                      <a:pt x="11619" y="18010"/>
                      <a:pt x="12277" y="19497"/>
                      <a:pt x="13458" y="20498"/>
                    </a:cubicBezTo>
                    <a:cubicBezTo>
                      <a:pt x="14774" y="21587"/>
                      <a:pt x="16299" y="22400"/>
                      <a:pt x="17944" y="22891"/>
                    </a:cubicBezTo>
                    <a:lnTo>
                      <a:pt x="25122" y="24835"/>
                    </a:lnTo>
                    <a:cubicBezTo>
                      <a:pt x="28681" y="25651"/>
                      <a:pt x="32180" y="26700"/>
                      <a:pt x="35589" y="27975"/>
                    </a:cubicBezTo>
                    <a:cubicBezTo>
                      <a:pt x="38221" y="29020"/>
                      <a:pt x="40569" y="30658"/>
                      <a:pt x="42468" y="32760"/>
                    </a:cubicBezTo>
                    <a:cubicBezTo>
                      <a:pt x="44486" y="35238"/>
                      <a:pt x="45503" y="38389"/>
                      <a:pt x="45309" y="41583"/>
                    </a:cubicBezTo>
                    <a:cubicBezTo>
                      <a:pt x="45339" y="44615"/>
                      <a:pt x="44456" y="47588"/>
                      <a:pt x="42767" y="50106"/>
                    </a:cubicBezTo>
                    <a:cubicBezTo>
                      <a:pt x="40883" y="52820"/>
                      <a:pt x="38221" y="54905"/>
                      <a:pt x="35140" y="56088"/>
                    </a:cubicBezTo>
                    <a:cubicBezTo>
                      <a:pt x="31088" y="57671"/>
                      <a:pt x="26767" y="58434"/>
                      <a:pt x="22430" y="58331"/>
                    </a:cubicBezTo>
                    <a:cubicBezTo>
                      <a:pt x="18123" y="58344"/>
                      <a:pt x="13847" y="57740"/>
                      <a:pt x="9720" y="5653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B4A200AB-D0A8-83B3-E69A-08DD76DBE50C}"/>
                  </a:ext>
                </a:extLst>
              </p:cNvPr>
              <p:cNvSpPr/>
              <p:nvPr/>
            </p:nvSpPr>
            <p:spPr>
              <a:xfrm>
                <a:off x="2714705" y="3305778"/>
                <a:ext cx="55895" cy="56835"/>
              </a:xfrm>
              <a:custGeom>
                <a:avLst/>
                <a:gdLst>
                  <a:gd name="connsiteX0" fmla="*/ 0 w 55895"/>
                  <a:gd name="connsiteY0" fmla="*/ 2 h 56835"/>
                  <a:gd name="connsiteX1" fmla="*/ 24823 w 55895"/>
                  <a:gd name="connsiteY1" fmla="*/ 2 h 56835"/>
                  <a:gd name="connsiteX2" fmla="*/ 40972 w 55895"/>
                  <a:gd name="connsiteY2" fmla="*/ 3442 h 56835"/>
                  <a:gd name="connsiteX3" fmla="*/ 51888 w 55895"/>
                  <a:gd name="connsiteY3" fmla="*/ 13460 h 56835"/>
                  <a:gd name="connsiteX4" fmla="*/ 51888 w 55895"/>
                  <a:gd name="connsiteY4" fmla="*/ 43367 h 56835"/>
                  <a:gd name="connsiteX5" fmla="*/ 40972 w 55895"/>
                  <a:gd name="connsiteY5" fmla="*/ 53386 h 56835"/>
                  <a:gd name="connsiteX6" fmla="*/ 24823 w 55895"/>
                  <a:gd name="connsiteY6" fmla="*/ 56825 h 56835"/>
                  <a:gd name="connsiteX7" fmla="*/ 0 w 55895"/>
                  <a:gd name="connsiteY7" fmla="*/ 56825 h 56835"/>
                  <a:gd name="connsiteX8" fmla="*/ 24374 w 55895"/>
                  <a:gd name="connsiteY8" fmla="*/ 47853 h 56835"/>
                  <a:gd name="connsiteX9" fmla="*/ 35290 w 55895"/>
                  <a:gd name="connsiteY9" fmla="*/ 45461 h 56835"/>
                  <a:gd name="connsiteX10" fmla="*/ 42617 w 55895"/>
                  <a:gd name="connsiteY10" fmla="*/ 38582 h 56835"/>
                  <a:gd name="connsiteX11" fmla="*/ 45159 w 55895"/>
                  <a:gd name="connsiteY11" fmla="*/ 28414 h 56835"/>
                  <a:gd name="connsiteX12" fmla="*/ 42617 w 55895"/>
                  <a:gd name="connsiteY12" fmla="*/ 18096 h 56835"/>
                  <a:gd name="connsiteX13" fmla="*/ 35290 w 55895"/>
                  <a:gd name="connsiteY13" fmla="*/ 11367 h 56835"/>
                  <a:gd name="connsiteX14" fmla="*/ 24374 w 55895"/>
                  <a:gd name="connsiteY14" fmla="*/ 8974 h 56835"/>
                  <a:gd name="connsiteX15" fmla="*/ 10916 w 55895"/>
                  <a:gd name="connsiteY15" fmla="*/ 8974 h 56835"/>
                  <a:gd name="connsiteX16" fmla="*/ 10916 w 55895"/>
                  <a:gd name="connsiteY16" fmla="*/ 47853 h 56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5895" h="56835">
                    <a:moveTo>
                      <a:pt x="0" y="2"/>
                    </a:moveTo>
                    <a:lnTo>
                      <a:pt x="24823" y="2"/>
                    </a:lnTo>
                    <a:cubicBezTo>
                      <a:pt x="30394" y="-58"/>
                      <a:pt x="35910" y="1109"/>
                      <a:pt x="40972" y="3442"/>
                    </a:cubicBezTo>
                    <a:cubicBezTo>
                      <a:pt x="45500" y="5655"/>
                      <a:pt x="49291" y="9139"/>
                      <a:pt x="51888" y="13460"/>
                    </a:cubicBezTo>
                    <a:cubicBezTo>
                      <a:pt x="57231" y="22716"/>
                      <a:pt x="57231" y="34111"/>
                      <a:pt x="51888" y="43367"/>
                    </a:cubicBezTo>
                    <a:cubicBezTo>
                      <a:pt x="49291" y="47689"/>
                      <a:pt x="45500" y="51173"/>
                      <a:pt x="40972" y="53386"/>
                    </a:cubicBezTo>
                    <a:cubicBezTo>
                      <a:pt x="35933" y="55779"/>
                      <a:pt x="30401" y="56960"/>
                      <a:pt x="24823" y="56825"/>
                    </a:cubicBezTo>
                    <a:lnTo>
                      <a:pt x="0" y="56825"/>
                    </a:lnTo>
                    <a:close/>
                    <a:moveTo>
                      <a:pt x="24374" y="47853"/>
                    </a:moveTo>
                    <a:cubicBezTo>
                      <a:pt x="28147" y="47883"/>
                      <a:pt x="31879" y="47076"/>
                      <a:pt x="35290" y="45461"/>
                    </a:cubicBezTo>
                    <a:cubicBezTo>
                      <a:pt x="38363" y="43950"/>
                      <a:pt x="40914" y="41558"/>
                      <a:pt x="42617" y="38582"/>
                    </a:cubicBezTo>
                    <a:cubicBezTo>
                      <a:pt x="44352" y="35472"/>
                      <a:pt x="45229" y="31973"/>
                      <a:pt x="45159" y="28414"/>
                    </a:cubicBezTo>
                    <a:cubicBezTo>
                      <a:pt x="45207" y="24810"/>
                      <a:pt x="44332" y="21266"/>
                      <a:pt x="42617" y="18096"/>
                    </a:cubicBezTo>
                    <a:cubicBezTo>
                      <a:pt x="40952" y="15135"/>
                      <a:pt x="38385" y="12772"/>
                      <a:pt x="35290" y="11367"/>
                    </a:cubicBezTo>
                    <a:cubicBezTo>
                      <a:pt x="31903" y="9692"/>
                      <a:pt x="28154" y="8870"/>
                      <a:pt x="24374" y="8974"/>
                    </a:cubicBezTo>
                    <a:lnTo>
                      <a:pt x="10916" y="8974"/>
                    </a:lnTo>
                    <a:lnTo>
                      <a:pt x="10916" y="4785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D40779F7-EAEF-BCA4-0314-89C105F24557}"/>
                  </a:ext>
                </a:extLst>
              </p:cNvPr>
              <p:cNvSpPr/>
              <p:nvPr/>
            </p:nvSpPr>
            <p:spPr>
              <a:xfrm>
                <a:off x="2819229" y="3305780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3 h 56673"/>
                  <a:gd name="connsiteX6" fmla="*/ 10467 w 42617"/>
                  <a:gd name="connsiteY6" fmla="*/ 8823 h 56673"/>
                  <a:gd name="connsiteX7" fmla="*/ 10467 w 42617"/>
                  <a:gd name="connsiteY7" fmla="*/ 23626 h 56673"/>
                  <a:gd name="connsiteX8" fmla="*/ 37832 w 42617"/>
                  <a:gd name="connsiteY8" fmla="*/ 23626 h 56673"/>
                  <a:gd name="connsiteX9" fmla="*/ 37832 w 42617"/>
                  <a:gd name="connsiteY9" fmla="*/ 32299 h 56673"/>
                  <a:gd name="connsiteX10" fmla="*/ 10467 w 42617"/>
                  <a:gd name="connsiteY10" fmla="*/ 32299 h 56673"/>
                  <a:gd name="connsiteX11" fmla="*/ 1046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467" y="8823"/>
                    </a:lnTo>
                    <a:lnTo>
                      <a:pt x="10467" y="23626"/>
                    </a:lnTo>
                    <a:lnTo>
                      <a:pt x="37832" y="23626"/>
                    </a:lnTo>
                    <a:lnTo>
                      <a:pt x="37832" y="32299"/>
                    </a:lnTo>
                    <a:lnTo>
                      <a:pt x="10467" y="32299"/>
                    </a:lnTo>
                    <a:lnTo>
                      <a:pt x="1046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43B36176-8C82-2BC4-225A-BFCFCAC173B1}"/>
                  </a:ext>
                </a:extLst>
              </p:cNvPr>
              <p:cNvSpPr/>
              <p:nvPr/>
            </p:nvSpPr>
            <p:spPr>
              <a:xfrm>
                <a:off x="2971006" y="3305780"/>
                <a:ext cx="40224" cy="56673"/>
              </a:xfrm>
              <a:custGeom>
                <a:avLst/>
                <a:gdLst>
                  <a:gd name="connsiteX0" fmla="*/ 0 w 40224"/>
                  <a:gd name="connsiteY0" fmla="*/ 0 h 56673"/>
                  <a:gd name="connsiteX1" fmla="*/ 10467 w 40224"/>
                  <a:gd name="connsiteY1" fmla="*/ 0 h 56673"/>
                  <a:gd name="connsiteX2" fmla="*/ 10467 w 40224"/>
                  <a:gd name="connsiteY2" fmla="*/ 47851 h 56673"/>
                  <a:gd name="connsiteX3" fmla="*/ 40225 w 40224"/>
                  <a:gd name="connsiteY3" fmla="*/ 47851 h 56673"/>
                  <a:gd name="connsiteX4" fmla="*/ 40225 w 40224"/>
                  <a:gd name="connsiteY4" fmla="*/ 56673 h 56673"/>
                  <a:gd name="connsiteX5" fmla="*/ 0 w 40224"/>
                  <a:gd name="connsiteY5" fmla="*/ 56673 h 56673"/>
                  <a:gd name="connsiteX6" fmla="*/ 0 w 40224"/>
                  <a:gd name="connsiteY6" fmla="*/ 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224" h="5667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47851"/>
                    </a:lnTo>
                    <a:lnTo>
                      <a:pt x="40225" y="47851"/>
                    </a:lnTo>
                    <a:lnTo>
                      <a:pt x="40225" y="56673"/>
                    </a:lnTo>
                    <a:lnTo>
                      <a:pt x="0" y="5667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B444A7E7-77E4-21EB-749E-C58E3D8E4AD1}"/>
                  </a:ext>
                </a:extLst>
              </p:cNvPr>
              <p:cNvSpPr/>
              <p:nvPr/>
            </p:nvSpPr>
            <p:spPr>
              <a:xfrm>
                <a:off x="3049504" y="3301743"/>
                <a:ext cx="12825" cy="25121"/>
              </a:xfrm>
              <a:custGeom>
                <a:avLst/>
                <a:gdLst>
                  <a:gd name="connsiteX0" fmla="*/ 10774 w 12825"/>
                  <a:gd name="connsiteY0" fmla="*/ 1944 h 25121"/>
                  <a:gd name="connsiteX1" fmla="*/ 12718 w 12825"/>
                  <a:gd name="connsiteY1" fmla="*/ 6729 h 25121"/>
                  <a:gd name="connsiteX2" fmla="*/ 12718 w 12825"/>
                  <a:gd name="connsiteY2" fmla="*/ 9570 h 25121"/>
                  <a:gd name="connsiteX3" fmla="*/ 11372 w 12825"/>
                  <a:gd name="connsiteY3" fmla="*/ 13757 h 25121"/>
                  <a:gd name="connsiteX4" fmla="*/ 7185 w 12825"/>
                  <a:gd name="connsiteY4" fmla="*/ 25122 h 25121"/>
                  <a:gd name="connsiteX5" fmla="*/ 606 w 12825"/>
                  <a:gd name="connsiteY5" fmla="*/ 25122 h 25121"/>
                  <a:gd name="connsiteX6" fmla="*/ 3746 w 12825"/>
                  <a:gd name="connsiteY6" fmla="*/ 12710 h 25121"/>
                  <a:gd name="connsiteX7" fmla="*/ 1054 w 12825"/>
                  <a:gd name="connsiteY7" fmla="*/ 10467 h 25121"/>
                  <a:gd name="connsiteX8" fmla="*/ 8 w 12825"/>
                  <a:gd name="connsiteY8" fmla="*/ 6729 h 25121"/>
                  <a:gd name="connsiteX9" fmla="*/ 1802 w 12825"/>
                  <a:gd name="connsiteY9" fmla="*/ 1944 h 25121"/>
                  <a:gd name="connsiteX10" fmla="*/ 6587 w 12825"/>
                  <a:gd name="connsiteY10" fmla="*/ 0 h 25121"/>
                  <a:gd name="connsiteX11" fmla="*/ 11223 w 12825"/>
                  <a:gd name="connsiteY11" fmla="*/ 1944 h 25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25" h="25121">
                    <a:moveTo>
                      <a:pt x="10774" y="1944"/>
                    </a:moveTo>
                    <a:cubicBezTo>
                      <a:pt x="12046" y="3200"/>
                      <a:pt x="12749" y="4935"/>
                      <a:pt x="12718" y="6729"/>
                    </a:cubicBezTo>
                    <a:cubicBezTo>
                      <a:pt x="12861" y="7671"/>
                      <a:pt x="12861" y="8628"/>
                      <a:pt x="12718" y="9570"/>
                    </a:cubicBezTo>
                    <a:cubicBezTo>
                      <a:pt x="12718" y="10467"/>
                      <a:pt x="11970" y="11813"/>
                      <a:pt x="11372" y="13757"/>
                    </a:cubicBezTo>
                    <a:lnTo>
                      <a:pt x="7185" y="25122"/>
                    </a:lnTo>
                    <a:lnTo>
                      <a:pt x="606" y="25122"/>
                    </a:lnTo>
                    <a:lnTo>
                      <a:pt x="3746" y="12710"/>
                    </a:lnTo>
                    <a:cubicBezTo>
                      <a:pt x="2611" y="12307"/>
                      <a:pt x="1657" y="11514"/>
                      <a:pt x="1054" y="10467"/>
                    </a:cubicBezTo>
                    <a:cubicBezTo>
                      <a:pt x="310" y="9361"/>
                      <a:pt x="-58" y="8060"/>
                      <a:pt x="8" y="6729"/>
                    </a:cubicBezTo>
                    <a:cubicBezTo>
                      <a:pt x="-64" y="4965"/>
                      <a:pt x="583" y="3230"/>
                      <a:pt x="1802" y="1944"/>
                    </a:cubicBezTo>
                    <a:cubicBezTo>
                      <a:pt x="3083" y="703"/>
                      <a:pt x="4800" y="0"/>
                      <a:pt x="6587" y="0"/>
                    </a:cubicBezTo>
                    <a:cubicBezTo>
                      <a:pt x="8329" y="15"/>
                      <a:pt x="9995" y="703"/>
                      <a:pt x="11223" y="1944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CD2E2396-8A69-4E5F-9088-827AD793CDC4}"/>
                  </a:ext>
                </a:extLst>
              </p:cNvPr>
              <p:cNvSpPr/>
              <p:nvPr/>
            </p:nvSpPr>
            <p:spPr>
              <a:xfrm>
                <a:off x="3110522" y="3305780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3 h 56673"/>
                  <a:gd name="connsiteX6" fmla="*/ 10617 w 42617"/>
                  <a:gd name="connsiteY6" fmla="*/ 8823 h 56673"/>
                  <a:gd name="connsiteX7" fmla="*/ 10617 w 42617"/>
                  <a:gd name="connsiteY7" fmla="*/ 23626 h 56673"/>
                  <a:gd name="connsiteX8" fmla="*/ 37982 w 42617"/>
                  <a:gd name="connsiteY8" fmla="*/ 23626 h 56673"/>
                  <a:gd name="connsiteX9" fmla="*/ 37982 w 42617"/>
                  <a:gd name="connsiteY9" fmla="*/ 32299 h 56673"/>
                  <a:gd name="connsiteX10" fmla="*/ 10617 w 42617"/>
                  <a:gd name="connsiteY10" fmla="*/ 32299 h 56673"/>
                  <a:gd name="connsiteX11" fmla="*/ 1061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617" y="8823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AF2DFD99-F1BC-DEB0-FA12-A67CBC828E60}"/>
                  </a:ext>
                </a:extLst>
              </p:cNvPr>
              <p:cNvSpPr/>
              <p:nvPr/>
            </p:nvSpPr>
            <p:spPr>
              <a:xfrm>
                <a:off x="3194859" y="3305780"/>
                <a:ext cx="54878" cy="56673"/>
              </a:xfrm>
              <a:custGeom>
                <a:avLst/>
                <a:gdLst>
                  <a:gd name="connsiteX0" fmla="*/ 42617 w 54878"/>
                  <a:gd name="connsiteY0" fmla="*/ 56673 h 56673"/>
                  <a:gd name="connsiteX1" fmla="*/ 27215 w 54878"/>
                  <a:gd name="connsiteY1" fmla="*/ 35141 h 56673"/>
                  <a:gd name="connsiteX2" fmla="*/ 11963 w 54878"/>
                  <a:gd name="connsiteY2" fmla="*/ 56673 h 56673"/>
                  <a:gd name="connsiteX3" fmla="*/ 0 w 54878"/>
                  <a:gd name="connsiteY3" fmla="*/ 56673 h 56673"/>
                  <a:gd name="connsiteX4" fmla="*/ 21084 w 54878"/>
                  <a:gd name="connsiteY4" fmla="*/ 27813 h 56673"/>
                  <a:gd name="connsiteX5" fmla="*/ 1196 w 54878"/>
                  <a:gd name="connsiteY5" fmla="*/ 0 h 56673"/>
                  <a:gd name="connsiteX6" fmla="*/ 13009 w 54878"/>
                  <a:gd name="connsiteY6" fmla="*/ 0 h 56673"/>
                  <a:gd name="connsiteX7" fmla="*/ 27664 w 54878"/>
                  <a:gd name="connsiteY7" fmla="*/ 20187 h 56673"/>
                  <a:gd name="connsiteX8" fmla="*/ 41870 w 54878"/>
                  <a:gd name="connsiteY8" fmla="*/ 0 h 56673"/>
                  <a:gd name="connsiteX9" fmla="*/ 53384 w 54878"/>
                  <a:gd name="connsiteY9" fmla="*/ 0 h 56673"/>
                  <a:gd name="connsiteX10" fmla="*/ 33496 w 54878"/>
                  <a:gd name="connsiteY10" fmla="*/ 27365 h 56673"/>
                  <a:gd name="connsiteX11" fmla="*/ 54879 w 54878"/>
                  <a:gd name="connsiteY11" fmla="*/ 56673 h 56673"/>
                  <a:gd name="connsiteX12" fmla="*/ 42617 w 54878"/>
                  <a:gd name="connsiteY12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878" h="56673">
                    <a:moveTo>
                      <a:pt x="42617" y="56673"/>
                    </a:moveTo>
                    <a:lnTo>
                      <a:pt x="27215" y="35141"/>
                    </a:lnTo>
                    <a:lnTo>
                      <a:pt x="11963" y="56673"/>
                    </a:lnTo>
                    <a:lnTo>
                      <a:pt x="0" y="56673"/>
                    </a:lnTo>
                    <a:lnTo>
                      <a:pt x="21084" y="27813"/>
                    </a:lnTo>
                    <a:lnTo>
                      <a:pt x="1196" y="0"/>
                    </a:lnTo>
                    <a:lnTo>
                      <a:pt x="13009" y="0"/>
                    </a:lnTo>
                    <a:lnTo>
                      <a:pt x="27664" y="20187"/>
                    </a:lnTo>
                    <a:lnTo>
                      <a:pt x="41870" y="0"/>
                    </a:lnTo>
                    <a:lnTo>
                      <a:pt x="53384" y="0"/>
                    </a:lnTo>
                    <a:lnTo>
                      <a:pt x="33496" y="27365"/>
                    </a:lnTo>
                    <a:lnTo>
                      <a:pt x="54879" y="56673"/>
                    </a:lnTo>
                    <a:lnTo>
                      <a:pt x="42617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3EC36AB6-6D12-E718-9D87-C7E82C83C99D}"/>
                  </a:ext>
                </a:extLst>
              </p:cNvPr>
              <p:cNvSpPr/>
              <p:nvPr/>
            </p:nvSpPr>
            <p:spPr>
              <a:xfrm>
                <a:off x="3293851" y="3306514"/>
                <a:ext cx="47712" cy="56687"/>
              </a:xfrm>
              <a:custGeom>
                <a:avLst/>
                <a:gdLst>
                  <a:gd name="connsiteX0" fmla="*/ 35888 w 47712"/>
                  <a:gd name="connsiteY0" fmla="*/ 1659 h 56687"/>
                  <a:gd name="connsiteX1" fmla="*/ 44860 w 47712"/>
                  <a:gd name="connsiteY1" fmla="*/ 9435 h 56687"/>
                  <a:gd name="connsiteX2" fmla="*/ 47701 w 47712"/>
                  <a:gd name="connsiteY2" fmla="*/ 20202 h 56687"/>
                  <a:gd name="connsiteX3" fmla="*/ 44860 w 47712"/>
                  <a:gd name="connsiteY3" fmla="*/ 30968 h 56687"/>
                  <a:gd name="connsiteX4" fmla="*/ 36337 w 47712"/>
                  <a:gd name="connsiteY4" fmla="*/ 37996 h 56687"/>
                  <a:gd name="connsiteX5" fmla="*/ 23626 w 47712"/>
                  <a:gd name="connsiteY5" fmla="*/ 40389 h 56687"/>
                  <a:gd name="connsiteX6" fmla="*/ 10766 w 47712"/>
                  <a:gd name="connsiteY6" fmla="*/ 40389 h 56687"/>
                  <a:gd name="connsiteX7" fmla="*/ 10766 w 47712"/>
                  <a:gd name="connsiteY7" fmla="*/ 56688 h 56687"/>
                  <a:gd name="connsiteX8" fmla="*/ 0 w 47712"/>
                  <a:gd name="connsiteY8" fmla="*/ 56688 h 56687"/>
                  <a:gd name="connsiteX9" fmla="*/ 0 w 47712"/>
                  <a:gd name="connsiteY9" fmla="*/ 14 h 56687"/>
                  <a:gd name="connsiteX10" fmla="*/ 23477 w 47712"/>
                  <a:gd name="connsiteY10" fmla="*/ 14 h 56687"/>
                  <a:gd name="connsiteX11" fmla="*/ 36187 w 47712"/>
                  <a:gd name="connsiteY11" fmla="*/ 2407 h 56687"/>
                  <a:gd name="connsiteX12" fmla="*/ 33346 w 47712"/>
                  <a:gd name="connsiteY12" fmla="*/ 28575 h 56687"/>
                  <a:gd name="connsiteX13" fmla="*/ 33817 w 47712"/>
                  <a:gd name="connsiteY13" fmla="*/ 12306 h 56687"/>
                  <a:gd name="connsiteX14" fmla="*/ 33346 w 47712"/>
                  <a:gd name="connsiteY14" fmla="*/ 11828 h 56687"/>
                  <a:gd name="connsiteX15" fmla="*/ 22879 w 47712"/>
                  <a:gd name="connsiteY15" fmla="*/ 8986 h 56687"/>
                  <a:gd name="connsiteX16" fmla="*/ 10617 w 47712"/>
                  <a:gd name="connsiteY16" fmla="*/ 8986 h 56687"/>
                  <a:gd name="connsiteX17" fmla="*/ 10617 w 47712"/>
                  <a:gd name="connsiteY17" fmla="*/ 31417 h 56687"/>
                  <a:gd name="connsiteX18" fmla="*/ 22879 w 47712"/>
                  <a:gd name="connsiteY18" fmla="*/ 31417 h 56687"/>
                  <a:gd name="connsiteX19" fmla="*/ 33346 w 47712"/>
                  <a:gd name="connsiteY19" fmla="*/ 28575 h 5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7712" h="56687">
                    <a:moveTo>
                      <a:pt x="35888" y="1659"/>
                    </a:moveTo>
                    <a:cubicBezTo>
                      <a:pt x="39633" y="3229"/>
                      <a:pt x="42777" y="5951"/>
                      <a:pt x="44860" y="9435"/>
                    </a:cubicBezTo>
                    <a:cubicBezTo>
                      <a:pt x="46845" y="12665"/>
                      <a:pt x="47833" y="16418"/>
                      <a:pt x="47701" y="20202"/>
                    </a:cubicBezTo>
                    <a:cubicBezTo>
                      <a:pt x="47791" y="23985"/>
                      <a:pt x="46806" y="27723"/>
                      <a:pt x="44860" y="30968"/>
                    </a:cubicBezTo>
                    <a:cubicBezTo>
                      <a:pt x="42779" y="34108"/>
                      <a:pt x="39812" y="36546"/>
                      <a:pt x="36337" y="37996"/>
                    </a:cubicBezTo>
                    <a:cubicBezTo>
                      <a:pt x="32298" y="39626"/>
                      <a:pt x="27979" y="40433"/>
                      <a:pt x="23626" y="40389"/>
                    </a:cubicBezTo>
                    <a:lnTo>
                      <a:pt x="10766" y="40389"/>
                    </a:lnTo>
                    <a:lnTo>
                      <a:pt x="10766" y="56688"/>
                    </a:lnTo>
                    <a:lnTo>
                      <a:pt x="0" y="56688"/>
                    </a:lnTo>
                    <a:lnTo>
                      <a:pt x="0" y="14"/>
                    </a:lnTo>
                    <a:lnTo>
                      <a:pt x="23477" y="14"/>
                    </a:lnTo>
                    <a:cubicBezTo>
                      <a:pt x="27837" y="-120"/>
                      <a:pt x="32175" y="687"/>
                      <a:pt x="36187" y="2407"/>
                    </a:cubicBezTo>
                    <a:moveTo>
                      <a:pt x="33346" y="28575"/>
                    </a:moveTo>
                    <a:cubicBezTo>
                      <a:pt x="37971" y="24209"/>
                      <a:pt x="38182" y="16927"/>
                      <a:pt x="33817" y="12306"/>
                    </a:cubicBezTo>
                    <a:cubicBezTo>
                      <a:pt x="33665" y="12142"/>
                      <a:pt x="33508" y="11977"/>
                      <a:pt x="33346" y="11828"/>
                    </a:cubicBezTo>
                    <a:cubicBezTo>
                      <a:pt x="30288" y="9704"/>
                      <a:pt x="26592" y="8702"/>
                      <a:pt x="22879" y="8986"/>
                    </a:cubicBezTo>
                    <a:lnTo>
                      <a:pt x="10617" y="8986"/>
                    </a:lnTo>
                    <a:lnTo>
                      <a:pt x="10617" y="31417"/>
                    </a:lnTo>
                    <a:lnTo>
                      <a:pt x="22879" y="31417"/>
                    </a:lnTo>
                    <a:cubicBezTo>
                      <a:pt x="26592" y="31701"/>
                      <a:pt x="30288" y="30699"/>
                      <a:pt x="33346" y="2857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44F1424F-A364-273D-9C4D-570D4D9D5772}"/>
                  </a:ext>
                </a:extLst>
              </p:cNvPr>
              <p:cNvSpPr/>
              <p:nvPr/>
            </p:nvSpPr>
            <p:spPr>
              <a:xfrm>
                <a:off x="3389253" y="3305780"/>
                <a:ext cx="42467" cy="56673"/>
              </a:xfrm>
              <a:custGeom>
                <a:avLst/>
                <a:gdLst>
                  <a:gd name="connsiteX0" fmla="*/ 42468 w 42467"/>
                  <a:gd name="connsiteY0" fmla="*/ 47851 h 56673"/>
                  <a:gd name="connsiteX1" fmla="*/ 42468 w 42467"/>
                  <a:gd name="connsiteY1" fmla="*/ 56673 h 56673"/>
                  <a:gd name="connsiteX2" fmla="*/ 0 w 42467"/>
                  <a:gd name="connsiteY2" fmla="*/ 56673 h 56673"/>
                  <a:gd name="connsiteX3" fmla="*/ 0 w 42467"/>
                  <a:gd name="connsiteY3" fmla="*/ 0 h 56673"/>
                  <a:gd name="connsiteX4" fmla="*/ 41421 w 42467"/>
                  <a:gd name="connsiteY4" fmla="*/ 0 h 56673"/>
                  <a:gd name="connsiteX5" fmla="*/ 41421 w 42467"/>
                  <a:gd name="connsiteY5" fmla="*/ 8823 h 56673"/>
                  <a:gd name="connsiteX6" fmla="*/ 10467 w 42467"/>
                  <a:gd name="connsiteY6" fmla="*/ 8823 h 56673"/>
                  <a:gd name="connsiteX7" fmla="*/ 10467 w 42467"/>
                  <a:gd name="connsiteY7" fmla="*/ 23626 h 56673"/>
                  <a:gd name="connsiteX8" fmla="*/ 37832 w 42467"/>
                  <a:gd name="connsiteY8" fmla="*/ 23626 h 56673"/>
                  <a:gd name="connsiteX9" fmla="*/ 37832 w 42467"/>
                  <a:gd name="connsiteY9" fmla="*/ 32299 h 56673"/>
                  <a:gd name="connsiteX10" fmla="*/ 10467 w 42467"/>
                  <a:gd name="connsiteY10" fmla="*/ 32299 h 56673"/>
                  <a:gd name="connsiteX11" fmla="*/ 10467 w 42467"/>
                  <a:gd name="connsiteY11" fmla="*/ 47851 h 56673"/>
                  <a:gd name="connsiteX12" fmla="*/ 42468 w 4246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467" h="56673">
                    <a:moveTo>
                      <a:pt x="42468" y="47851"/>
                    </a:moveTo>
                    <a:lnTo>
                      <a:pt x="42468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467" y="8823"/>
                    </a:lnTo>
                    <a:lnTo>
                      <a:pt x="10467" y="23626"/>
                    </a:lnTo>
                    <a:lnTo>
                      <a:pt x="37832" y="23626"/>
                    </a:lnTo>
                    <a:lnTo>
                      <a:pt x="37832" y="32299"/>
                    </a:lnTo>
                    <a:lnTo>
                      <a:pt x="10467" y="32299"/>
                    </a:lnTo>
                    <a:lnTo>
                      <a:pt x="10467" y="47851"/>
                    </a:lnTo>
                    <a:lnTo>
                      <a:pt x="42468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CABA1022-4832-AA63-B268-800026E3348C}"/>
                  </a:ext>
                </a:extLst>
              </p:cNvPr>
              <p:cNvSpPr/>
              <p:nvPr/>
            </p:nvSpPr>
            <p:spPr>
              <a:xfrm>
                <a:off x="3481217" y="3305617"/>
                <a:ext cx="48449" cy="56837"/>
              </a:xfrm>
              <a:custGeom>
                <a:avLst/>
                <a:gdLst>
                  <a:gd name="connsiteX0" fmla="*/ 36935 w 48449"/>
                  <a:gd name="connsiteY0" fmla="*/ 56837 h 56837"/>
                  <a:gd name="connsiteX1" fmla="*/ 25421 w 48449"/>
                  <a:gd name="connsiteY1" fmla="*/ 40239 h 56837"/>
                  <a:gd name="connsiteX2" fmla="*/ 10467 w 48449"/>
                  <a:gd name="connsiteY2" fmla="*/ 40239 h 56837"/>
                  <a:gd name="connsiteX3" fmla="*/ 10467 w 48449"/>
                  <a:gd name="connsiteY3" fmla="*/ 56688 h 56837"/>
                  <a:gd name="connsiteX4" fmla="*/ 0 w 48449"/>
                  <a:gd name="connsiteY4" fmla="*/ 56688 h 56837"/>
                  <a:gd name="connsiteX5" fmla="*/ 0 w 48449"/>
                  <a:gd name="connsiteY5" fmla="*/ 14 h 56837"/>
                  <a:gd name="connsiteX6" fmla="*/ 23327 w 48449"/>
                  <a:gd name="connsiteY6" fmla="*/ 14 h 56837"/>
                  <a:gd name="connsiteX7" fmla="*/ 36187 w 48449"/>
                  <a:gd name="connsiteY7" fmla="*/ 2407 h 56837"/>
                  <a:gd name="connsiteX8" fmla="*/ 47552 w 48449"/>
                  <a:gd name="connsiteY8" fmla="*/ 20201 h 56837"/>
                  <a:gd name="connsiteX9" fmla="*/ 35440 w 48449"/>
                  <a:gd name="connsiteY9" fmla="*/ 38145 h 56837"/>
                  <a:gd name="connsiteX10" fmla="*/ 48449 w 48449"/>
                  <a:gd name="connsiteY10" fmla="*/ 56688 h 56837"/>
                  <a:gd name="connsiteX11" fmla="*/ 33197 w 48449"/>
                  <a:gd name="connsiteY11" fmla="*/ 11977 h 56837"/>
                  <a:gd name="connsiteX12" fmla="*/ 22729 w 48449"/>
                  <a:gd name="connsiteY12" fmla="*/ 9136 h 56837"/>
                  <a:gd name="connsiteX13" fmla="*/ 10318 w 48449"/>
                  <a:gd name="connsiteY13" fmla="*/ 9136 h 56837"/>
                  <a:gd name="connsiteX14" fmla="*/ 10318 w 48449"/>
                  <a:gd name="connsiteY14" fmla="*/ 31716 h 56837"/>
                  <a:gd name="connsiteX15" fmla="*/ 22729 w 48449"/>
                  <a:gd name="connsiteY15" fmla="*/ 31716 h 56837"/>
                  <a:gd name="connsiteX16" fmla="*/ 33197 w 48449"/>
                  <a:gd name="connsiteY16" fmla="*/ 28725 h 56837"/>
                  <a:gd name="connsiteX17" fmla="*/ 33668 w 48449"/>
                  <a:gd name="connsiteY17" fmla="*/ 12455 h 56837"/>
                  <a:gd name="connsiteX18" fmla="*/ 33197 w 48449"/>
                  <a:gd name="connsiteY18" fmla="*/ 11977 h 56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449" h="56837">
                    <a:moveTo>
                      <a:pt x="36935" y="56837"/>
                    </a:moveTo>
                    <a:lnTo>
                      <a:pt x="25421" y="40239"/>
                    </a:lnTo>
                    <a:lnTo>
                      <a:pt x="10467" y="40239"/>
                    </a:lnTo>
                    <a:lnTo>
                      <a:pt x="10467" y="56688"/>
                    </a:lnTo>
                    <a:lnTo>
                      <a:pt x="0" y="56688"/>
                    </a:lnTo>
                    <a:lnTo>
                      <a:pt x="0" y="14"/>
                    </a:lnTo>
                    <a:lnTo>
                      <a:pt x="23327" y="14"/>
                    </a:lnTo>
                    <a:cubicBezTo>
                      <a:pt x="27736" y="-120"/>
                      <a:pt x="32121" y="702"/>
                      <a:pt x="36187" y="2407"/>
                    </a:cubicBezTo>
                    <a:cubicBezTo>
                      <a:pt x="43284" y="5427"/>
                      <a:pt x="47797" y="12500"/>
                      <a:pt x="47552" y="20201"/>
                    </a:cubicBezTo>
                    <a:cubicBezTo>
                      <a:pt x="47933" y="28201"/>
                      <a:pt x="43005" y="35499"/>
                      <a:pt x="35440" y="38145"/>
                    </a:cubicBezTo>
                    <a:lnTo>
                      <a:pt x="48449" y="56688"/>
                    </a:lnTo>
                    <a:close/>
                    <a:moveTo>
                      <a:pt x="33197" y="11977"/>
                    </a:moveTo>
                    <a:cubicBezTo>
                      <a:pt x="30130" y="9869"/>
                      <a:pt x="26439" y="8867"/>
                      <a:pt x="22729" y="9136"/>
                    </a:cubicBezTo>
                    <a:lnTo>
                      <a:pt x="10318" y="9136"/>
                    </a:lnTo>
                    <a:lnTo>
                      <a:pt x="10318" y="31716"/>
                    </a:lnTo>
                    <a:lnTo>
                      <a:pt x="22729" y="31716"/>
                    </a:lnTo>
                    <a:cubicBezTo>
                      <a:pt x="26457" y="31940"/>
                      <a:pt x="30148" y="30878"/>
                      <a:pt x="33197" y="28725"/>
                    </a:cubicBezTo>
                    <a:cubicBezTo>
                      <a:pt x="37822" y="24358"/>
                      <a:pt x="38033" y="17076"/>
                      <a:pt x="33668" y="12455"/>
                    </a:cubicBezTo>
                    <a:cubicBezTo>
                      <a:pt x="33515" y="12291"/>
                      <a:pt x="33358" y="12127"/>
                      <a:pt x="33197" y="11977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6841962A-8EC2-2B77-81C6-7739CAF60881}"/>
                  </a:ext>
                </a:extLst>
              </p:cNvPr>
              <p:cNvSpPr/>
              <p:nvPr/>
            </p:nvSpPr>
            <p:spPr>
              <a:xfrm>
                <a:off x="3569741" y="3305780"/>
                <a:ext cx="48149" cy="56673"/>
              </a:xfrm>
              <a:custGeom>
                <a:avLst/>
                <a:gdLst>
                  <a:gd name="connsiteX0" fmla="*/ 18841 w 48149"/>
                  <a:gd name="connsiteY0" fmla="*/ 8972 h 56673"/>
                  <a:gd name="connsiteX1" fmla="*/ 0 w 48149"/>
                  <a:gd name="connsiteY1" fmla="*/ 8972 h 56673"/>
                  <a:gd name="connsiteX2" fmla="*/ 0 w 48149"/>
                  <a:gd name="connsiteY2" fmla="*/ 0 h 56673"/>
                  <a:gd name="connsiteX3" fmla="*/ 48150 w 48149"/>
                  <a:gd name="connsiteY3" fmla="*/ 0 h 56673"/>
                  <a:gd name="connsiteX4" fmla="*/ 48150 w 48149"/>
                  <a:gd name="connsiteY4" fmla="*/ 8972 h 56673"/>
                  <a:gd name="connsiteX5" fmla="*/ 29309 w 48149"/>
                  <a:gd name="connsiteY5" fmla="*/ 8972 h 56673"/>
                  <a:gd name="connsiteX6" fmla="*/ 29309 w 48149"/>
                  <a:gd name="connsiteY6" fmla="*/ 56673 h 56673"/>
                  <a:gd name="connsiteX7" fmla="*/ 18841 w 48149"/>
                  <a:gd name="connsiteY7" fmla="*/ 56673 h 56673"/>
                  <a:gd name="connsiteX8" fmla="*/ 18841 w 48149"/>
                  <a:gd name="connsiteY8" fmla="*/ 8972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49" h="56673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309" y="8972"/>
                    </a:lnTo>
                    <a:lnTo>
                      <a:pt x="29309" y="56673"/>
                    </a:lnTo>
                    <a:lnTo>
                      <a:pt x="18841" y="5667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A7260CCF-2B55-9022-DEB4-361376693D32}"/>
                  </a:ext>
                </a:extLst>
              </p:cNvPr>
              <p:cNvSpPr/>
              <p:nvPr/>
            </p:nvSpPr>
            <p:spPr>
              <a:xfrm>
                <a:off x="3663349" y="3305780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BF699257-03FA-2348-372F-53E0F5AF22C4}"/>
                  </a:ext>
                </a:extLst>
              </p:cNvPr>
              <p:cNvSpPr/>
              <p:nvPr/>
            </p:nvSpPr>
            <p:spPr>
              <a:xfrm>
                <a:off x="3721967" y="3304422"/>
                <a:ext cx="45331" cy="58641"/>
              </a:xfrm>
              <a:custGeom>
                <a:avLst/>
                <a:gdLst>
                  <a:gd name="connsiteX0" fmla="*/ 9720 w 45331"/>
                  <a:gd name="connsiteY0" fmla="*/ 56387 h 58641"/>
                  <a:gd name="connsiteX1" fmla="*/ 0 w 45331"/>
                  <a:gd name="connsiteY1" fmla="*/ 51452 h 58641"/>
                  <a:gd name="connsiteX2" fmla="*/ 3589 w 45331"/>
                  <a:gd name="connsiteY2" fmla="*/ 43377 h 58641"/>
                  <a:gd name="connsiteX3" fmla="*/ 12262 w 45331"/>
                  <a:gd name="connsiteY3" fmla="*/ 47863 h 58641"/>
                  <a:gd name="connsiteX4" fmla="*/ 22430 w 45331"/>
                  <a:gd name="connsiteY4" fmla="*/ 49508 h 58641"/>
                  <a:gd name="connsiteX5" fmla="*/ 31851 w 45331"/>
                  <a:gd name="connsiteY5" fmla="*/ 47564 h 58641"/>
                  <a:gd name="connsiteX6" fmla="*/ 34991 w 45331"/>
                  <a:gd name="connsiteY6" fmla="*/ 42181 h 58641"/>
                  <a:gd name="connsiteX7" fmla="*/ 33197 w 45331"/>
                  <a:gd name="connsiteY7" fmla="*/ 38143 h 58641"/>
                  <a:gd name="connsiteX8" fmla="*/ 28711 w 45331"/>
                  <a:gd name="connsiteY8" fmla="*/ 35751 h 58641"/>
                  <a:gd name="connsiteX9" fmla="*/ 21533 w 45331"/>
                  <a:gd name="connsiteY9" fmla="*/ 33657 h 58641"/>
                  <a:gd name="connsiteX10" fmla="*/ 10916 w 45331"/>
                  <a:gd name="connsiteY10" fmla="*/ 30517 h 58641"/>
                  <a:gd name="connsiteX11" fmla="*/ 4037 w 45331"/>
                  <a:gd name="connsiteY11" fmla="*/ 25732 h 58641"/>
                  <a:gd name="connsiteX12" fmla="*/ 1196 w 45331"/>
                  <a:gd name="connsiteY12" fmla="*/ 16910 h 58641"/>
                  <a:gd name="connsiteX13" fmla="*/ 3738 w 45331"/>
                  <a:gd name="connsiteY13" fmla="*/ 8386 h 58641"/>
                  <a:gd name="connsiteX14" fmla="*/ 11514 w 45331"/>
                  <a:gd name="connsiteY14" fmla="*/ 2255 h 58641"/>
                  <a:gd name="connsiteX15" fmla="*/ 24075 w 45331"/>
                  <a:gd name="connsiteY15" fmla="*/ 12 h 58641"/>
                  <a:gd name="connsiteX16" fmla="*/ 34243 w 45331"/>
                  <a:gd name="connsiteY16" fmla="*/ 1208 h 58641"/>
                  <a:gd name="connsiteX17" fmla="*/ 42916 w 45331"/>
                  <a:gd name="connsiteY17" fmla="*/ 4947 h 58641"/>
                  <a:gd name="connsiteX18" fmla="*/ 39627 w 45331"/>
                  <a:gd name="connsiteY18" fmla="*/ 13171 h 58641"/>
                  <a:gd name="connsiteX19" fmla="*/ 31851 w 45331"/>
                  <a:gd name="connsiteY19" fmla="*/ 9881 h 58641"/>
                  <a:gd name="connsiteX20" fmla="*/ 23926 w 45331"/>
                  <a:gd name="connsiteY20" fmla="*/ 8685 h 58641"/>
                  <a:gd name="connsiteX21" fmla="*/ 14654 w 45331"/>
                  <a:gd name="connsiteY21" fmla="*/ 10779 h 58641"/>
                  <a:gd name="connsiteX22" fmla="*/ 11664 w 45331"/>
                  <a:gd name="connsiteY22" fmla="*/ 16461 h 58641"/>
                  <a:gd name="connsiteX23" fmla="*/ 13458 w 45331"/>
                  <a:gd name="connsiteY23" fmla="*/ 20349 h 58641"/>
                  <a:gd name="connsiteX24" fmla="*/ 17795 w 45331"/>
                  <a:gd name="connsiteY24" fmla="*/ 22741 h 58641"/>
                  <a:gd name="connsiteX25" fmla="*/ 25122 w 45331"/>
                  <a:gd name="connsiteY25" fmla="*/ 24835 h 58641"/>
                  <a:gd name="connsiteX26" fmla="*/ 35440 w 45331"/>
                  <a:gd name="connsiteY26" fmla="*/ 27825 h 58641"/>
                  <a:gd name="connsiteX27" fmla="*/ 42468 w 45331"/>
                  <a:gd name="connsiteY27" fmla="*/ 32760 h 58641"/>
                  <a:gd name="connsiteX28" fmla="*/ 45309 w 45331"/>
                  <a:gd name="connsiteY28" fmla="*/ 41433 h 58641"/>
                  <a:gd name="connsiteX29" fmla="*/ 42767 w 45331"/>
                  <a:gd name="connsiteY29" fmla="*/ 49957 h 58641"/>
                  <a:gd name="connsiteX30" fmla="*/ 35440 w 45331"/>
                  <a:gd name="connsiteY30" fmla="*/ 56387 h 58641"/>
                  <a:gd name="connsiteX31" fmla="*/ 22879 w 45331"/>
                  <a:gd name="connsiteY31" fmla="*/ 58630 h 58641"/>
                  <a:gd name="connsiteX32" fmla="*/ 10168 w 45331"/>
                  <a:gd name="connsiteY32" fmla="*/ 56686 h 5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1" h="58641">
                    <a:moveTo>
                      <a:pt x="9720" y="56387"/>
                    </a:moveTo>
                    <a:cubicBezTo>
                      <a:pt x="6152" y="55489"/>
                      <a:pt x="2832" y="53800"/>
                      <a:pt x="0" y="51452"/>
                    </a:cubicBezTo>
                    <a:lnTo>
                      <a:pt x="3589" y="43377"/>
                    </a:lnTo>
                    <a:cubicBezTo>
                      <a:pt x="6230" y="45306"/>
                      <a:pt x="9156" y="46831"/>
                      <a:pt x="12262" y="47863"/>
                    </a:cubicBezTo>
                    <a:cubicBezTo>
                      <a:pt x="15531" y="49000"/>
                      <a:pt x="18971" y="49553"/>
                      <a:pt x="22430" y="49508"/>
                    </a:cubicBezTo>
                    <a:cubicBezTo>
                      <a:pt x="25690" y="49747"/>
                      <a:pt x="28951" y="49074"/>
                      <a:pt x="31851" y="47564"/>
                    </a:cubicBezTo>
                    <a:cubicBezTo>
                      <a:pt x="33799" y="46472"/>
                      <a:pt x="35003" y="44409"/>
                      <a:pt x="34991" y="42181"/>
                    </a:cubicBezTo>
                    <a:cubicBezTo>
                      <a:pt x="35039" y="40626"/>
                      <a:pt x="34379" y="39145"/>
                      <a:pt x="33197" y="38143"/>
                    </a:cubicBezTo>
                    <a:cubicBezTo>
                      <a:pt x="31875" y="37052"/>
                      <a:pt x="30351" y="36244"/>
                      <a:pt x="28711" y="35751"/>
                    </a:cubicBezTo>
                    <a:lnTo>
                      <a:pt x="21533" y="33657"/>
                    </a:lnTo>
                    <a:cubicBezTo>
                      <a:pt x="17931" y="32835"/>
                      <a:pt x="14384" y="31788"/>
                      <a:pt x="10916" y="30517"/>
                    </a:cubicBezTo>
                    <a:cubicBezTo>
                      <a:pt x="8248" y="29545"/>
                      <a:pt x="5878" y="27900"/>
                      <a:pt x="4037" y="25732"/>
                    </a:cubicBezTo>
                    <a:cubicBezTo>
                      <a:pt x="2001" y="23265"/>
                      <a:pt x="984" y="20110"/>
                      <a:pt x="1196" y="16910"/>
                    </a:cubicBezTo>
                    <a:cubicBezTo>
                      <a:pt x="1159" y="13874"/>
                      <a:pt x="2046" y="10898"/>
                      <a:pt x="3738" y="8386"/>
                    </a:cubicBezTo>
                    <a:cubicBezTo>
                      <a:pt x="5709" y="5665"/>
                      <a:pt x="8402" y="3541"/>
                      <a:pt x="11514" y="2255"/>
                    </a:cubicBezTo>
                    <a:cubicBezTo>
                      <a:pt x="15504" y="655"/>
                      <a:pt x="19779" y="-107"/>
                      <a:pt x="24075" y="12"/>
                    </a:cubicBezTo>
                    <a:cubicBezTo>
                      <a:pt x="27498" y="27"/>
                      <a:pt x="30909" y="431"/>
                      <a:pt x="34243" y="1208"/>
                    </a:cubicBezTo>
                    <a:cubicBezTo>
                      <a:pt x="37331" y="1941"/>
                      <a:pt x="40267" y="3197"/>
                      <a:pt x="42916" y="4947"/>
                    </a:cubicBezTo>
                    <a:lnTo>
                      <a:pt x="39627" y="13171"/>
                    </a:lnTo>
                    <a:cubicBezTo>
                      <a:pt x="37191" y="11736"/>
                      <a:pt x="34577" y="10629"/>
                      <a:pt x="31851" y="9881"/>
                    </a:cubicBezTo>
                    <a:cubicBezTo>
                      <a:pt x="29274" y="9134"/>
                      <a:pt x="26610" y="8730"/>
                      <a:pt x="23926" y="8685"/>
                    </a:cubicBezTo>
                    <a:cubicBezTo>
                      <a:pt x="20700" y="8506"/>
                      <a:pt x="17490" y="9238"/>
                      <a:pt x="14654" y="10779"/>
                    </a:cubicBezTo>
                    <a:cubicBezTo>
                      <a:pt x="12781" y="12065"/>
                      <a:pt x="11661" y="14188"/>
                      <a:pt x="11664" y="16461"/>
                    </a:cubicBezTo>
                    <a:cubicBezTo>
                      <a:pt x="11661" y="17956"/>
                      <a:pt x="12317" y="19377"/>
                      <a:pt x="13458" y="20349"/>
                    </a:cubicBezTo>
                    <a:cubicBezTo>
                      <a:pt x="14701" y="21470"/>
                      <a:pt x="16186" y="22293"/>
                      <a:pt x="17795" y="22741"/>
                    </a:cubicBezTo>
                    <a:lnTo>
                      <a:pt x="25122" y="24835"/>
                    </a:lnTo>
                    <a:cubicBezTo>
                      <a:pt x="28634" y="25553"/>
                      <a:pt x="32084" y="26554"/>
                      <a:pt x="35440" y="27825"/>
                    </a:cubicBezTo>
                    <a:cubicBezTo>
                      <a:pt x="38152" y="28872"/>
                      <a:pt x="40567" y="30562"/>
                      <a:pt x="42468" y="32760"/>
                    </a:cubicBezTo>
                    <a:cubicBezTo>
                      <a:pt x="44482" y="35183"/>
                      <a:pt x="45497" y="38293"/>
                      <a:pt x="45309" y="41433"/>
                    </a:cubicBezTo>
                    <a:cubicBezTo>
                      <a:pt x="45346" y="44469"/>
                      <a:pt x="44460" y="47444"/>
                      <a:pt x="42767" y="49957"/>
                    </a:cubicBezTo>
                    <a:cubicBezTo>
                      <a:pt x="40996" y="52768"/>
                      <a:pt x="38451" y="54996"/>
                      <a:pt x="35440" y="56387"/>
                    </a:cubicBezTo>
                    <a:cubicBezTo>
                      <a:pt x="31450" y="57987"/>
                      <a:pt x="27175" y="58749"/>
                      <a:pt x="22879" y="58630"/>
                    </a:cubicBezTo>
                    <a:cubicBezTo>
                      <a:pt x="18565" y="58674"/>
                      <a:pt x="14272" y="58016"/>
                      <a:pt x="10168" y="5668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0B88D26E-D5B3-23CE-14FC-7ACF88DF3FFD}"/>
                  </a:ext>
                </a:extLst>
              </p:cNvPr>
              <p:cNvSpPr/>
              <p:nvPr/>
            </p:nvSpPr>
            <p:spPr>
              <a:xfrm>
                <a:off x="3815276" y="3305780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3 h 56673"/>
                  <a:gd name="connsiteX6" fmla="*/ 10617 w 42617"/>
                  <a:gd name="connsiteY6" fmla="*/ 8823 h 56673"/>
                  <a:gd name="connsiteX7" fmla="*/ 10617 w 42617"/>
                  <a:gd name="connsiteY7" fmla="*/ 23626 h 56673"/>
                  <a:gd name="connsiteX8" fmla="*/ 37982 w 42617"/>
                  <a:gd name="connsiteY8" fmla="*/ 23626 h 56673"/>
                  <a:gd name="connsiteX9" fmla="*/ 37982 w 42617"/>
                  <a:gd name="connsiteY9" fmla="*/ 32299 h 56673"/>
                  <a:gd name="connsiteX10" fmla="*/ 10617 w 42617"/>
                  <a:gd name="connsiteY10" fmla="*/ 32299 h 56673"/>
                  <a:gd name="connsiteX11" fmla="*/ 1061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617" y="8823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F17A32B9-4004-8B6B-E5F7-AC85F8F05CF4}"/>
                  </a:ext>
                </a:extLst>
              </p:cNvPr>
              <p:cNvSpPr/>
              <p:nvPr/>
            </p:nvSpPr>
            <p:spPr>
              <a:xfrm>
                <a:off x="3963015" y="3305036"/>
                <a:ext cx="52786" cy="58321"/>
              </a:xfrm>
              <a:custGeom>
                <a:avLst/>
                <a:gdLst>
                  <a:gd name="connsiteX0" fmla="*/ 14805 w 52786"/>
                  <a:gd name="connsiteY0" fmla="*/ 54576 h 58321"/>
                  <a:gd name="connsiteX1" fmla="*/ 3889 w 52786"/>
                  <a:gd name="connsiteY1" fmla="*/ 44109 h 58321"/>
                  <a:gd name="connsiteX2" fmla="*/ 1 w 52786"/>
                  <a:gd name="connsiteY2" fmla="*/ 29156 h 58321"/>
                  <a:gd name="connsiteX3" fmla="*/ 3889 w 52786"/>
                  <a:gd name="connsiteY3" fmla="*/ 14202 h 58321"/>
                  <a:gd name="connsiteX4" fmla="*/ 14805 w 52786"/>
                  <a:gd name="connsiteY4" fmla="*/ 3735 h 58321"/>
                  <a:gd name="connsiteX5" fmla="*/ 43066 w 52786"/>
                  <a:gd name="connsiteY5" fmla="*/ 2389 h 58321"/>
                  <a:gd name="connsiteX6" fmla="*/ 52786 w 52786"/>
                  <a:gd name="connsiteY6" fmla="*/ 9417 h 58321"/>
                  <a:gd name="connsiteX7" fmla="*/ 46057 w 52786"/>
                  <a:gd name="connsiteY7" fmla="*/ 15847 h 58321"/>
                  <a:gd name="connsiteX8" fmla="*/ 31104 w 52786"/>
                  <a:gd name="connsiteY8" fmla="*/ 9118 h 58321"/>
                  <a:gd name="connsiteX9" fmla="*/ 20636 w 52786"/>
                  <a:gd name="connsiteY9" fmla="*/ 11809 h 58321"/>
                  <a:gd name="connsiteX10" fmla="*/ 13459 w 52786"/>
                  <a:gd name="connsiteY10" fmla="*/ 18838 h 58321"/>
                  <a:gd name="connsiteX11" fmla="*/ 10917 w 52786"/>
                  <a:gd name="connsiteY11" fmla="*/ 29156 h 58321"/>
                  <a:gd name="connsiteX12" fmla="*/ 13459 w 52786"/>
                  <a:gd name="connsiteY12" fmla="*/ 39473 h 58321"/>
                  <a:gd name="connsiteX13" fmla="*/ 20636 w 52786"/>
                  <a:gd name="connsiteY13" fmla="*/ 46501 h 58321"/>
                  <a:gd name="connsiteX14" fmla="*/ 31104 w 52786"/>
                  <a:gd name="connsiteY14" fmla="*/ 49044 h 58321"/>
                  <a:gd name="connsiteX15" fmla="*/ 46057 w 52786"/>
                  <a:gd name="connsiteY15" fmla="*/ 42314 h 58321"/>
                  <a:gd name="connsiteX16" fmla="*/ 52786 w 52786"/>
                  <a:gd name="connsiteY16" fmla="*/ 48894 h 58321"/>
                  <a:gd name="connsiteX17" fmla="*/ 43066 w 52786"/>
                  <a:gd name="connsiteY17" fmla="*/ 55922 h 58321"/>
                  <a:gd name="connsiteX18" fmla="*/ 30207 w 52786"/>
                  <a:gd name="connsiteY18" fmla="*/ 58315 h 58321"/>
                  <a:gd name="connsiteX19" fmla="*/ 15253 w 52786"/>
                  <a:gd name="connsiteY19" fmla="*/ 54576 h 58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2786" h="58321">
                    <a:moveTo>
                      <a:pt x="14805" y="54576"/>
                    </a:moveTo>
                    <a:cubicBezTo>
                      <a:pt x="10283" y="52139"/>
                      <a:pt x="6508" y="48520"/>
                      <a:pt x="3889" y="44109"/>
                    </a:cubicBezTo>
                    <a:cubicBezTo>
                      <a:pt x="1305" y="39548"/>
                      <a:pt x="-35" y="34389"/>
                      <a:pt x="1" y="29156"/>
                    </a:cubicBezTo>
                    <a:cubicBezTo>
                      <a:pt x="-35" y="23922"/>
                      <a:pt x="1305" y="18763"/>
                      <a:pt x="3889" y="14202"/>
                    </a:cubicBezTo>
                    <a:cubicBezTo>
                      <a:pt x="6508" y="9791"/>
                      <a:pt x="10283" y="6172"/>
                      <a:pt x="14805" y="3735"/>
                    </a:cubicBezTo>
                    <a:cubicBezTo>
                      <a:pt x="23600" y="-721"/>
                      <a:pt x="33885" y="-1215"/>
                      <a:pt x="43066" y="2389"/>
                    </a:cubicBezTo>
                    <a:cubicBezTo>
                      <a:pt x="46821" y="3929"/>
                      <a:pt x="50153" y="6337"/>
                      <a:pt x="52786" y="9417"/>
                    </a:cubicBezTo>
                    <a:lnTo>
                      <a:pt x="46057" y="15847"/>
                    </a:lnTo>
                    <a:cubicBezTo>
                      <a:pt x="42261" y="11570"/>
                      <a:pt x="36821" y="9133"/>
                      <a:pt x="31104" y="9118"/>
                    </a:cubicBezTo>
                    <a:cubicBezTo>
                      <a:pt x="27437" y="9073"/>
                      <a:pt x="23824" y="10000"/>
                      <a:pt x="20636" y="11809"/>
                    </a:cubicBezTo>
                    <a:cubicBezTo>
                      <a:pt x="17656" y="13469"/>
                      <a:pt x="15177" y="15892"/>
                      <a:pt x="13459" y="18838"/>
                    </a:cubicBezTo>
                    <a:cubicBezTo>
                      <a:pt x="11745" y="22008"/>
                      <a:pt x="10869" y="25552"/>
                      <a:pt x="10917" y="29156"/>
                    </a:cubicBezTo>
                    <a:cubicBezTo>
                      <a:pt x="10908" y="32744"/>
                      <a:pt x="11781" y="36288"/>
                      <a:pt x="13459" y="39473"/>
                    </a:cubicBezTo>
                    <a:cubicBezTo>
                      <a:pt x="15177" y="42419"/>
                      <a:pt x="17656" y="44842"/>
                      <a:pt x="20636" y="46501"/>
                    </a:cubicBezTo>
                    <a:cubicBezTo>
                      <a:pt x="23863" y="48191"/>
                      <a:pt x="27458" y="49073"/>
                      <a:pt x="31104" y="49044"/>
                    </a:cubicBezTo>
                    <a:cubicBezTo>
                      <a:pt x="36821" y="49044"/>
                      <a:pt x="42261" y="46591"/>
                      <a:pt x="46057" y="42314"/>
                    </a:cubicBezTo>
                    <a:lnTo>
                      <a:pt x="52786" y="48894"/>
                    </a:lnTo>
                    <a:cubicBezTo>
                      <a:pt x="50113" y="51930"/>
                      <a:pt x="46791" y="54337"/>
                      <a:pt x="43066" y="55922"/>
                    </a:cubicBezTo>
                    <a:cubicBezTo>
                      <a:pt x="38987" y="57582"/>
                      <a:pt x="34612" y="58404"/>
                      <a:pt x="30207" y="58315"/>
                    </a:cubicBezTo>
                    <a:cubicBezTo>
                      <a:pt x="24988" y="58330"/>
                      <a:pt x="19847" y="57059"/>
                      <a:pt x="15253" y="5457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C39138EA-986B-6865-E2EB-4A442AC90F29}"/>
                  </a:ext>
                </a:extLst>
              </p:cNvPr>
              <p:cNvSpPr/>
              <p:nvPr/>
            </p:nvSpPr>
            <p:spPr>
              <a:xfrm>
                <a:off x="4058268" y="3304883"/>
                <a:ext cx="59521" cy="58318"/>
              </a:xfrm>
              <a:custGeom>
                <a:avLst/>
                <a:gdLst>
                  <a:gd name="connsiteX0" fmla="*/ 14805 w 59521"/>
                  <a:gd name="connsiteY0" fmla="*/ 54729 h 58318"/>
                  <a:gd name="connsiteX1" fmla="*/ 3889 w 59521"/>
                  <a:gd name="connsiteY1" fmla="*/ 44262 h 58318"/>
                  <a:gd name="connsiteX2" fmla="*/ 1 w 59521"/>
                  <a:gd name="connsiteY2" fmla="*/ 29309 h 58318"/>
                  <a:gd name="connsiteX3" fmla="*/ 3889 w 59521"/>
                  <a:gd name="connsiteY3" fmla="*/ 14355 h 58318"/>
                  <a:gd name="connsiteX4" fmla="*/ 14805 w 59521"/>
                  <a:gd name="connsiteY4" fmla="*/ 3888 h 58318"/>
                  <a:gd name="connsiteX5" fmla="*/ 29758 w 59521"/>
                  <a:gd name="connsiteY5" fmla="*/ 0 h 58318"/>
                  <a:gd name="connsiteX6" fmla="*/ 44711 w 59521"/>
                  <a:gd name="connsiteY6" fmla="*/ 3888 h 58318"/>
                  <a:gd name="connsiteX7" fmla="*/ 55627 w 59521"/>
                  <a:gd name="connsiteY7" fmla="*/ 14206 h 58318"/>
                  <a:gd name="connsiteX8" fmla="*/ 59515 w 59521"/>
                  <a:gd name="connsiteY8" fmla="*/ 29159 h 58318"/>
                  <a:gd name="connsiteX9" fmla="*/ 44562 w 59521"/>
                  <a:gd name="connsiteY9" fmla="*/ 54580 h 58318"/>
                  <a:gd name="connsiteX10" fmla="*/ 29608 w 59521"/>
                  <a:gd name="connsiteY10" fmla="*/ 58318 h 58318"/>
                  <a:gd name="connsiteX11" fmla="*/ 14655 w 59521"/>
                  <a:gd name="connsiteY11" fmla="*/ 54580 h 58318"/>
                  <a:gd name="connsiteX12" fmla="*/ 40524 w 59521"/>
                  <a:gd name="connsiteY12" fmla="*/ 46505 h 58318"/>
                  <a:gd name="connsiteX13" fmla="*/ 47702 w 59521"/>
                  <a:gd name="connsiteY13" fmla="*/ 39327 h 58318"/>
                  <a:gd name="connsiteX14" fmla="*/ 50244 w 59521"/>
                  <a:gd name="connsiteY14" fmla="*/ 29159 h 58318"/>
                  <a:gd name="connsiteX15" fmla="*/ 47702 w 59521"/>
                  <a:gd name="connsiteY15" fmla="*/ 18841 h 58318"/>
                  <a:gd name="connsiteX16" fmla="*/ 40524 w 59521"/>
                  <a:gd name="connsiteY16" fmla="*/ 11664 h 58318"/>
                  <a:gd name="connsiteX17" fmla="*/ 20188 w 59521"/>
                  <a:gd name="connsiteY17" fmla="*/ 11664 h 58318"/>
                  <a:gd name="connsiteX18" fmla="*/ 13010 w 59521"/>
                  <a:gd name="connsiteY18" fmla="*/ 18841 h 58318"/>
                  <a:gd name="connsiteX19" fmla="*/ 10468 w 59521"/>
                  <a:gd name="connsiteY19" fmla="*/ 29159 h 58318"/>
                  <a:gd name="connsiteX20" fmla="*/ 13010 w 59521"/>
                  <a:gd name="connsiteY20" fmla="*/ 39327 h 58318"/>
                  <a:gd name="connsiteX21" fmla="*/ 20188 w 59521"/>
                  <a:gd name="connsiteY21" fmla="*/ 46505 h 58318"/>
                  <a:gd name="connsiteX22" fmla="*/ 40524 w 59521"/>
                  <a:gd name="connsiteY22" fmla="*/ 46505 h 5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9521" h="58318">
                    <a:moveTo>
                      <a:pt x="14805" y="54729"/>
                    </a:moveTo>
                    <a:cubicBezTo>
                      <a:pt x="10329" y="52232"/>
                      <a:pt x="6570" y="48629"/>
                      <a:pt x="3889" y="44262"/>
                    </a:cubicBezTo>
                    <a:cubicBezTo>
                      <a:pt x="1305" y="39701"/>
                      <a:pt x="-35" y="34542"/>
                      <a:pt x="1" y="29309"/>
                    </a:cubicBezTo>
                    <a:cubicBezTo>
                      <a:pt x="-35" y="24075"/>
                      <a:pt x="1305" y="18916"/>
                      <a:pt x="3889" y="14355"/>
                    </a:cubicBezTo>
                    <a:cubicBezTo>
                      <a:pt x="6465" y="9899"/>
                      <a:pt x="10250" y="6280"/>
                      <a:pt x="14805" y="3888"/>
                    </a:cubicBezTo>
                    <a:cubicBezTo>
                      <a:pt x="19406" y="1406"/>
                      <a:pt x="24535" y="75"/>
                      <a:pt x="29758" y="0"/>
                    </a:cubicBezTo>
                    <a:cubicBezTo>
                      <a:pt x="34984" y="60"/>
                      <a:pt x="40118" y="1391"/>
                      <a:pt x="44711" y="3888"/>
                    </a:cubicBezTo>
                    <a:cubicBezTo>
                      <a:pt x="49227" y="6265"/>
                      <a:pt x="53004" y="9824"/>
                      <a:pt x="55627" y="14206"/>
                    </a:cubicBezTo>
                    <a:cubicBezTo>
                      <a:pt x="58258" y="18752"/>
                      <a:pt x="59602" y="23911"/>
                      <a:pt x="59515" y="29159"/>
                    </a:cubicBezTo>
                    <a:cubicBezTo>
                      <a:pt x="59732" y="39776"/>
                      <a:pt x="53948" y="49615"/>
                      <a:pt x="44562" y="54580"/>
                    </a:cubicBezTo>
                    <a:cubicBezTo>
                      <a:pt x="39932" y="56958"/>
                      <a:pt x="34815" y="58244"/>
                      <a:pt x="29608" y="58318"/>
                    </a:cubicBezTo>
                    <a:cubicBezTo>
                      <a:pt x="24405" y="58229"/>
                      <a:pt x="19291" y="56943"/>
                      <a:pt x="14655" y="54580"/>
                    </a:cubicBezTo>
                    <a:moveTo>
                      <a:pt x="40524" y="46505"/>
                    </a:moveTo>
                    <a:cubicBezTo>
                      <a:pt x="43608" y="44920"/>
                      <a:pt x="46119" y="42408"/>
                      <a:pt x="47702" y="39327"/>
                    </a:cubicBezTo>
                    <a:cubicBezTo>
                      <a:pt x="49465" y="36232"/>
                      <a:pt x="50344" y="32718"/>
                      <a:pt x="50244" y="29159"/>
                    </a:cubicBezTo>
                    <a:cubicBezTo>
                      <a:pt x="50349" y="25555"/>
                      <a:pt x="49470" y="21982"/>
                      <a:pt x="47702" y="18841"/>
                    </a:cubicBezTo>
                    <a:cubicBezTo>
                      <a:pt x="46030" y="15821"/>
                      <a:pt x="43543" y="13338"/>
                      <a:pt x="40524" y="11664"/>
                    </a:cubicBezTo>
                    <a:cubicBezTo>
                      <a:pt x="34166" y="8284"/>
                      <a:pt x="26546" y="8284"/>
                      <a:pt x="20188" y="11664"/>
                    </a:cubicBezTo>
                    <a:cubicBezTo>
                      <a:pt x="17234" y="13428"/>
                      <a:pt x="14767" y="15895"/>
                      <a:pt x="13010" y="18841"/>
                    </a:cubicBezTo>
                    <a:cubicBezTo>
                      <a:pt x="11243" y="21982"/>
                      <a:pt x="10363" y="25555"/>
                      <a:pt x="10468" y="29159"/>
                    </a:cubicBezTo>
                    <a:cubicBezTo>
                      <a:pt x="10368" y="32718"/>
                      <a:pt x="11247" y="36232"/>
                      <a:pt x="13010" y="39327"/>
                    </a:cubicBezTo>
                    <a:cubicBezTo>
                      <a:pt x="14682" y="42348"/>
                      <a:pt x="17169" y="44830"/>
                      <a:pt x="20188" y="46505"/>
                    </a:cubicBezTo>
                    <a:cubicBezTo>
                      <a:pt x="26546" y="49885"/>
                      <a:pt x="34166" y="49885"/>
                      <a:pt x="40524" y="4650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62DB8761-4528-51FD-6A04-6C07ABE1BA1A}"/>
                  </a:ext>
                </a:extLst>
              </p:cNvPr>
              <p:cNvSpPr/>
              <p:nvPr/>
            </p:nvSpPr>
            <p:spPr>
              <a:xfrm>
                <a:off x="4168027" y="3305780"/>
                <a:ext cx="62206" cy="56673"/>
              </a:xfrm>
              <a:custGeom>
                <a:avLst/>
                <a:gdLst>
                  <a:gd name="connsiteX0" fmla="*/ 52187 w 62206"/>
                  <a:gd name="connsiteY0" fmla="*/ 56673 h 56673"/>
                  <a:gd name="connsiteX1" fmla="*/ 52038 w 62206"/>
                  <a:gd name="connsiteY1" fmla="*/ 19140 h 56673"/>
                  <a:gd name="connsiteX2" fmla="*/ 33496 w 62206"/>
                  <a:gd name="connsiteY2" fmla="*/ 50244 h 56673"/>
                  <a:gd name="connsiteX3" fmla="*/ 28711 w 62206"/>
                  <a:gd name="connsiteY3" fmla="*/ 50244 h 56673"/>
                  <a:gd name="connsiteX4" fmla="*/ 10168 w 62206"/>
                  <a:gd name="connsiteY4" fmla="*/ 19589 h 56673"/>
                  <a:gd name="connsiteX5" fmla="*/ 10168 w 62206"/>
                  <a:gd name="connsiteY5" fmla="*/ 56673 h 56673"/>
                  <a:gd name="connsiteX6" fmla="*/ 0 w 62206"/>
                  <a:gd name="connsiteY6" fmla="*/ 56673 h 56673"/>
                  <a:gd name="connsiteX7" fmla="*/ 0 w 62206"/>
                  <a:gd name="connsiteY7" fmla="*/ 0 h 56673"/>
                  <a:gd name="connsiteX8" fmla="*/ 8673 w 62206"/>
                  <a:gd name="connsiteY8" fmla="*/ 0 h 56673"/>
                  <a:gd name="connsiteX9" fmla="*/ 31253 w 62206"/>
                  <a:gd name="connsiteY9" fmla="*/ 37533 h 56673"/>
                  <a:gd name="connsiteX10" fmla="*/ 53384 w 62206"/>
                  <a:gd name="connsiteY10" fmla="*/ 0 h 56673"/>
                  <a:gd name="connsiteX11" fmla="*/ 62057 w 62206"/>
                  <a:gd name="connsiteY11" fmla="*/ 0 h 56673"/>
                  <a:gd name="connsiteX12" fmla="*/ 62206 w 62206"/>
                  <a:gd name="connsiteY12" fmla="*/ 56673 h 56673"/>
                  <a:gd name="connsiteX13" fmla="*/ 52187 w 62206"/>
                  <a:gd name="connsiteY13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206" h="56673">
                    <a:moveTo>
                      <a:pt x="52187" y="56673"/>
                    </a:moveTo>
                    <a:lnTo>
                      <a:pt x="52038" y="19140"/>
                    </a:lnTo>
                    <a:lnTo>
                      <a:pt x="33496" y="50244"/>
                    </a:lnTo>
                    <a:lnTo>
                      <a:pt x="28711" y="50244"/>
                    </a:lnTo>
                    <a:lnTo>
                      <a:pt x="10168" y="19589"/>
                    </a:lnTo>
                    <a:lnTo>
                      <a:pt x="10168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253" y="37533"/>
                    </a:lnTo>
                    <a:lnTo>
                      <a:pt x="53384" y="0"/>
                    </a:lnTo>
                    <a:lnTo>
                      <a:pt x="62057" y="0"/>
                    </a:lnTo>
                    <a:lnTo>
                      <a:pt x="62206" y="56673"/>
                    </a:lnTo>
                    <a:lnTo>
                      <a:pt x="52187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A26DF9DA-627E-E267-1EE4-57771F480D32}"/>
                  </a:ext>
                </a:extLst>
              </p:cNvPr>
              <p:cNvSpPr/>
              <p:nvPr/>
            </p:nvSpPr>
            <p:spPr>
              <a:xfrm>
                <a:off x="4283019" y="3305766"/>
                <a:ext cx="47560" cy="56687"/>
              </a:xfrm>
              <a:custGeom>
                <a:avLst/>
                <a:gdLst>
                  <a:gd name="connsiteX0" fmla="*/ 36187 w 47560"/>
                  <a:gd name="connsiteY0" fmla="*/ 2407 h 56687"/>
                  <a:gd name="connsiteX1" fmla="*/ 47552 w 47560"/>
                  <a:gd name="connsiteY1" fmla="*/ 20201 h 56687"/>
                  <a:gd name="connsiteX2" fmla="*/ 44561 w 47560"/>
                  <a:gd name="connsiteY2" fmla="*/ 30968 h 56687"/>
                  <a:gd name="connsiteX3" fmla="*/ 36187 w 47560"/>
                  <a:gd name="connsiteY3" fmla="*/ 37996 h 56687"/>
                  <a:gd name="connsiteX4" fmla="*/ 23327 w 47560"/>
                  <a:gd name="connsiteY4" fmla="*/ 40388 h 56687"/>
                  <a:gd name="connsiteX5" fmla="*/ 10617 w 47560"/>
                  <a:gd name="connsiteY5" fmla="*/ 40388 h 56687"/>
                  <a:gd name="connsiteX6" fmla="*/ 10617 w 47560"/>
                  <a:gd name="connsiteY6" fmla="*/ 56688 h 56687"/>
                  <a:gd name="connsiteX7" fmla="*/ 0 w 47560"/>
                  <a:gd name="connsiteY7" fmla="*/ 56688 h 56687"/>
                  <a:gd name="connsiteX8" fmla="*/ 0 w 47560"/>
                  <a:gd name="connsiteY8" fmla="*/ 14 h 56687"/>
                  <a:gd name="connsiteX9" fmla="*/ 23327 w 47560"/>
                  <a:gd name="connsiteY9" fmla="*/ 14 h 56687"/>
                  <a:gd name="connsiteX10" fmla="*/ 36187 w 47560"/>
                  <a:gd name="connsiteY10" fmla="*/ 2407 h 56687"/>
                  <a:gd name="connsiteX11" fmla="*/ 33346 w 47560"/>
                  <a:gd name="connsiteY11" fmla="*/ 28575 h 56687"/>
                  <a:gd name="connsiteX12" fmla="*/ 33825 w 47560"/>
                  <a:gd name="connsiteY12" fmla="*/ 12306 h 56687"/>
                  <a:gd name="connsiteX13" fmla="*/ 33346 w 47560"/>
                  <a:gd name="connsiteY13" fmla="*/ 11827 h 56687"/>
                  <a:gd name="connsiteX14" fmla="*/ 22879 w 47560"/>
                  <a:gd name="connsiteY14" fmla="*/ 8986 h 56687"/>
                  <a:gd name="connsiteX15" fmla="*/ 10617 w 47560"/>
                  <a:gd name="connsiteY15" fmla="*/ 8986 h 56687"/>
                  <a:gd name="connsiteX16" fmla="*/ 10617 w 47560"/>
                  <a:gd name="connsiteY16" fmla="*/ 31416 h 56687"/>
                  <a:gd name="connsiteX17" fmla="*/ 22879 w 47560"/>
                  <a:gd name="connsiteY17" fmla="*/ 31416 h 56687"/>
                  <a:gd name="connsiteX18" fmla="*/ 33346 w 47560"/>
                  <a:gd name="connsiteY18" fmla="*/ 28575 h 5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7560" h="56687">
                    <a:moveTo>
                      <a:pt x="36187" y="2407"/>
                    </a:moveTo>
                    <a:cubicBezTo>
                      <a:pt x="43290" y="5427"/>
                      <a:pt x="47791" y="12500"/>
                      <a:pt x="47552" y="20201"/>
                    </a:cubicBezTo>
                    <a:cubicBezTo>
                      <a:pt x="47597" y="24000"/>
                      <a:pt x="46565" y="27738"/>
                      <a:pt x="44561" y="30968"/>
                    </a:cubicBezTo>
                    <a:cubicBezTo>
                      <a:pt x="42498" y="34063"/>
                      <a:pt x="39597" y="36501"/>
                      <a:pt x="36187" y="37996"/>
                    </a:cubicBezTo>
                    <a:cubicBezTo>
                      <a:pt x="32105" y="39626"/>
                      <a:pt x="27724" y="40448"/>
                      <a:pt x="23327" y="40388"/>
                    </a:cubicBezTo>
                    <a:lnTo>
                      <a:pt x="10617" y="40388"/>
                    </a:lnTo>
                    <a:lnTo>
                      <a:pt x="10617" y="56688"/>
                    </a:lnTo>
                    <a:lnTo>
                      <a:pt x="0" y="56688"/>
                    </a:lnTo>
                    <a:lnTo>
                      <a:pt x="0" y="14"/>
                    </a:lnTo>
                    <a:lnTo>
                      <a:pt x="23327" y="14"/>
                    </a:lnTo>
                    <a:cubicBezTo>
                      <a:pt x="27739" y="-120"/>
                      <a:pt x="32120" y="702"/>
                      <a:pt x="36187" y="2407"/>
                    </a:cubicBezTo>
                    <a:moveTo>
                      <a:pt x="33346" y="28575"/>
                    </a:moveTo>
                    <a:cubicBezTo>
                      <a:pt x="37967" y="24209"/>
                      <a:pt x="38176" y="16927"/>
                      <a:pt x="33825" y="12306"/>
                    </a:cubicBezTo>
                    <a:cubicBezTo>
                      <a:pt x="33660" y="12141"/>
                      <a:pt x="33511" y="11977"/>
                      <a:pt x="33346" y="11827"/>
                    </a:cubicBezTo>
                    <a:cubicBezTo>
                      <a:pt x="30296" y="9704"/>
                      <a:pt x="26587" y="8702"/>
                      <a:pt x="22879" y="8986"/>
                    </a:cubicBezTo>
                    <a:lnTo>
                      <a:pt x="10617" y="8986"/>
                    </a:lnTo>
                    <a:lnTo>
                      <a:pt x="10617" y="31416"/>
                    </a:lnTo>
                    <a:lnTo>
                      <a:pt x="22879" y="31416"/>
                    </a:lnTo>
                    <a:cubicBezTo>
                      <a:pt x="26587" y="31701"/>
                      <a:pt x="30296" y="30699"/>
                      <a:pt x="33346" y="2857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17F087B9-A1DD-F6A7-8E75-35770D31A886}"/>
                  </a:ext>
                </a:extLst>
              </p:cNvPr>
              <p:cNvSpPr/>
              <p:nvPr/>
            </p:nvSpPr>
            <p:spPr>
              <a:xfrm>
                <a:off x="4369599" y="3305780"/>
                <a:ext cx="48299" cy="56673"/>
              </a:xfrm>
              <a:custGeom>
                <a:avLst/>
                <a:gdLst>
                  <a:gd name="connsiteX0" fmla="*/ 18841 w 48299"/>
                  <a:gd name="connsiteY0" fmla="*/ 8972 h 56673"/>
                  <a:gd name="connsiteX1" fmla="*/ 0 w 48299"/>
                  <a:gd name="connsiteY1" fmla="*/ 8972 h 56673"/>
                  <a:gd name="connsiteX2" fmla="*/ 0 w 48299"/>
                  <a:gd name="connsiteY2" fmla="*/ 0 h 56673"/>
                  <a:gd name="connsiteX3" fmla="*/ 48299 w 48299"/>
                  <a:gd name="connsiteY3" fmla="*/ 0 h 56673"/>
                  <a:gd name="connsiteX4" fmla="*/ 48299 w 48299"/>
                  <a:gd name="connsiteY4" fmla="*/ 8972 h 56673"/>
                  <a:gd name="connsiteX5" fmla="*/ 29458 w 48299"/>
                  <a:gd name="connsiteY5" fmla="*/ 8972 h 56673"/>
                  <a:gd name="connsiteX6" fmla="*/ 29458 w 48299"/>
                  <a:gd name="connsiteY6" fmla="*/ 56673 h 56673"/>
                  <a:gd name="connsiteX7" fmla="*/ 18841 w 48299"/>
                  <a:gd name="connsiteY7" fmla="*/ 56673 h 56673"/>
                  <a:gd name="connsiteX8" fmla="*/ 18841 w 48299"/>
                  <a:gd name="connsiteY8" fmla="*/ 8972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99" h="56673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299" y="0"/>
                    </a:lnTo>
                    <a:lnTo>
                      <a:pt x="48299" y="8972"/>
                    </a:lnTo>
                    <a:lnTo>
                      <a:pt x="29458" y="8972"/>
                    </a:lnTo>
                    <a:lnTo>
                      <a:pt x="29458" y="56673"/>
                    </a:lnTo>
                    <a:lnTo>
                      <a:pt x="18841" y="5667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3D8033E5-C154-4A2A-DAAB-C3D170722A60}"/>
                  </a:ext>
                </a:extLst>
              </p:cNvPr>
              <p:cNvSpPr/>
              <p:nvPr/>
            </p:nvSpPr>
            <p:spPr>
              <a:xfrm>
                <a:off x="4452441" y="3305780"/>
                <a:ext cx="61607" cy="56823"/>
              </a:xfrm>
              <a:custGeom>
                <a:avLst/>
                <a:gdLst>
                  <a:gd name="connsiteX0" fmla="*/ 44860 w 61607"/>
                  <a:gd name="connsiteY0" fmla="*/ 43664 h 56823"/>
                  <a:gd name="connsiteX1" fmla="*/ 16449 w 61607"/>
                  <a:gd name="connsiteY1" fmla="*/ 43664 h 56823"/>
                  <a:gd name="connsiteX2" fmla="*/ 10916 w 61607"/>
                  <a:gd name="connsiteY2" fmla="*/ 56823 h 56823"/>
                  <a:gd name="connsiteX3" fmla="*/ 0 w 61607"/>
                  <a:gd name="connsiteY3" fmla="*/ 56823 h 56823"/>
                  <a:gd name="connsiteX4" fmla="*/ 25570 w 61607"/>
                  <a:gd name="connsiteY4" fmla="*/ 0 h 56823"/>
                  <a:gd name="connsiteX5" fmla="*/ 35888 w 61607"/>
                  <a:gd name="connsiteY5" fmla="*/ 0 h 56823"/>
                  <a:gd name="connsiteX6" fmla="*/ 61608 w 61607"/>
                  <a:gd name="connsiteY6" fmla="*/ 56823 h 56823"/>
                  <a:gd name="connsiteX7" fmla="*/ 50542 w 61607"/>
                  <a:gd name="connsiteY7" fmla="*/ 56823 h 56823"/>
                  <a:gd name="connsiteX8" fmla="*/ 41421 w 61607"/>
                  <a:gd name="connsiteY8" fmla="*/ 35290 h 56823"/>
                  <a:gd name="connsiteX9" fmla="*/ 30654 w 61607"/>
                  <a:gd name="connsiteY9" fmla="*/ 10617 h 56823"/>
                  <a:gd name="connsiteX10" fmla="*/ 20038 w 61607"/>
                  <a:gd name="connsiteY10" fmla="*/ 3529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07" h="56823">
                    <a:moveTo>
                      <a:pt x="44860" y="43664"/>
                    </a:moveTo>
                    <a:lnTo>
                      <a:pt x="16449" y="43664"/>
                    </a:lnTo>
                    <a:lnTo>
                      <a:pt x="10916" y="56823"/>
                    </a:lnTo>
                    <a:lnTo>
                      <a:pt x="0" y="56823"/>
                    </a:lnTo>
                    <a:lnTo>
                      <a:pt x="25570" y="0"/>
                    </a:lnTo>
                    <a:lnTo>
                      <a:pt x="35888" y="0"/>
                    </a:lnTo>
                    <a:lnTo>
                      <a:pt x="61608" y="56823"/>
                    </a:lnTo>
                    <a:lnTo>
                      <a:pt x="50542" y="56823"/>
                    </a:lnTo>
                    <a:close/>
                    <a:moveTo>
                      <a:pt x="41421" y="35290"/>
                    </a:moveTo>
                    <a:lnTo>
                      <a:pt x="30654" y="1061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5D6B317D-2B9C-2D04-0B87-52684F1FA001}"/>
                  </a:ext>
                </a:extLst>
              </p:cNvPr>
              <p:cNvSpPr/>
              <p:nvPr/>
            </p:nvSpPr>
            <p:spPr>
              <a:xfrm>
                <a:off x="4558760" y="3305759"/>
                <a:ext cx="50403" cy="56747"/>
              </a:xfrm>
              <a:custGeom>
                <a:avLst/>
                <a:gdLst>
                  <a:gd name="connsiteX0" fmla="*/ 47701 w 50403"/>
                  <a:gd name="connsiteY0" fmla="*/ 32470 h 56747"/>
                  <a:gd name="connsiteX1" fmla="*/ 50393 w 50403"/>
                  <a:gd name="connsiteY1" fmla="*/ 41293 h 56747"/>
                  <a:gd name="connsiteX2" fmla="*/ 44711 w 50403"/>
                  <a:gd name="connsiteY2" fmla="*/ 52807 h 56747"/>
                  <a:gd name="connsiteX3" fmla="*/ 28112 w 50403"/>
                  <a:gd name="connsiteY3" fmla="*/ 56695 h 56747"/>
                  <a:gd name="connsiteX4" fmla="*/ 0 w 50403"/>
                  <a:gd name="connsiteY4" fmla="*/ 56695 h 56747"/>
                  <a:gd name="connsiteX5" fmla="*/ 0 w 50403"/>
                  <a:gd name="connsiteY5" fmla="*/ 21 h 56747"/>
                  <a:gd name="connsiteX6" fmla="*/ 26617 w 50403"/>
                  <a:gd name="connsiteY6" fmla="*/ 21 h 56747"/>
                  <a:gd name="connsiteX7" fmla="*/ 41571 w 50403"/>
                  <a:gd name="connsiteY7" fmla="*/ 3909 h 56747"/>
                  <a:gd name="connsiteX8" fmla="*/ 46954 w 50403"/>
                  <a:gd name="connsiteY8" fmla="*/ 14825 h 56747"/>
                  <a:gd name="connsiteX9" fmla="*/ 45010 w 50403"/>
                  <a:gd name="connsiteY9" fmla="*/ 22302 h 56747"/>
                  <a:gd name="connsiteX10" fmla="*/ 39776 w 50403"/>
                  <a:gd name="connsiteY10" fmla="*/ 27236 h 56747"/>
                  <a:gd name="connsiteX11" fmla="*/ 47253 w 50403"/>
                  <a:gd name="connsiteY11" fmla="*/ 32470 h 56747"/>
                  <a:gd name="connsiteX12" fmla="*/ 10019 w 50403"/>
                  <a:gd name="connsiteY12" fmla="*/ 8246 h 56747"/>
                  <a:gd name="connsiteX13" fmla="*/ 10019 w 50403"/>
                  <a:gd name="connsiteY13" fmla="*/ 23199 h 56747"/>
                  <a:gd name="connsiteX14" fmla="*/ 24972 w 50403"/>
                  <a:gd name="connsiteY14" fmla="*/ 23199 h 56747"/>
                  <a:gd name="connsiteX15" fmla="*/ 33496 w 50403"/>
                  <a:gd name="connsiteY15" fmla="*/ 21255 h 56747"/>
                  <a:gd name="connsiteX16" fmla="*/ 36337 w 50403"/>
                  <a:gd name="connsiteY16" fmla="*/ 15423 h 56747"/>
                  <a:gd name="connsiteX17" fmla="*/ 33496 w 50403"/>
                  <a:gd name="connsiteY17" fmla="*/ 9591 h 56747"/>
                  <a:gd name="connsiteX18" fmla="*/ 24972 w 50403"/>
                  <a:gd name="connsiteY18" fmla="*/ 7498 h 56747"/>
                  <a:gd name="connsiteX19" fmla="*/ 39926 w 50403"/>
                  <a:gd name="connsiteY19" fmla="*/ 40246 h 56747"/>
                  <a:gd name="connsiteX20" fmla="*/ 27664 w 50403"/>
                  <a:gd name="connsiteY20" fmla="*/ 32171 h 56747"/>
                  <a:gd name="connsiteX21" fmla="*/ 10617 w 50403"/>
                  <a:gd name="connsiteY21" fmla="*/ 32171 h 56747"/>
                  <a:gd name="connsiteX22" fmla="*/ 10617 w 50403"/>
                  <a:gd name="connsiteY22" fmla="*/ 48470 h 56747"/>
                  <a:gd name="connsiteX23" fmla="*/ 27664 w 50403"/>
                  <a:gd name="connsiteY23" fmla="*/ 48470 h 56747"/>
                  <a:gd name="connsiteX24" fmla="*/ 39926 w 50403"/>
                  <a:gd name="connsiteY24" fmla="*/ 40246 h 56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0403" h="56747">
                    <a:moveTo>
                      <a:pt x="47701" y="32470"/>
                    </a:moveTo>
                    <a:cubicBezTo>
                      <a:pt x="49511" y="35057"/>
                      <a:pt x="50453" y="38138"/>
                      <a:pt x="50393" y="41293"/>
                    </a:cubicBezTo>
                    <a:cubicBezTo>
                      <a:pt x="50572" y="45839"/>
                      <a:pt x="48434" y="50175"/>
                      <a:pt x="44711" y="52807"/>
                    </a:cubicBezTo>
                    <a:cubicBezTo>
                      <a:pt x="39671" y="55693"/>
                      <a:pt x="33899" y="57039"/>
                      <a:pt x="28112" y="56695"/>
                    </a:cubicBezTo>
                    <a:lnTo>
                      <a:pt x="0" y="56695"/>
                    </a:lnTo>
                    <a:lnTo>
                      <a:pt x="0" y="21"/>
                    </a:lnTo>
                    <a:lnTo>
                      <a:pt x="26617" y="21"/>
                    </a:lnTo>
                    <a:cubicBezTo>
                      <a:pt x="31881" y="-188"/>
                      <a:pt x="37085" y="1158"/>
                      <a:pt x="41571" y="3909"/>
                    </a:cubicBezTo>
                    <a:cubicBezTo>
                      <a:pt x="45085" y="6421"/>
                      <a:pt x="47103" y="10519"/>
                      <a:pt x="46954" y="14825"/>
                    </a:cubicBezTo>
                    <a:cubicBezTo>
                      <a:pt x="46969" y="17442"/>
                      <a:pt x="46296" y="20029"/>
                      <a:pt x="45010" y="22302"/>
                    </a:cubicBezTo>
                    <a:cubicBezTo>
                      <a:pt x="43769" y="24410"/>
                      <a:pt x="41959" y="26130"/>
                      <a:pt x="39776" y="27236"/>
                    </a:cubicBezTo>
                    <a:cubicBezTo>
                      <a:pt x="42722" y="28208"/>
                      <a:pt x="45324" y="30033"/>
                      <a:pt x="47253" y="32470"/>
                    </a:cubicBezTo>
                    <a:moveTo>
                      <a:pt x="10019" y="8246"/>
                    </a:moveTo>
                    <a:lnTo>
                      <a:pt x="10019" y="23199"/>
                    </a:lnTo>
                    <a:lnTo>
                      <a:pt x="24972" y="23199"/>
                    </a:lnTo>
                    <a:cubicBezTo>
                      <a:pt x="27948" y="23408"/>
                      <a:pt x="30909" y="22735"/>
                      <a:pt x="33496" y="21255"/>
                    </a:cubicBezTo>
                    <a:cubicBezTo>
                      <a:pt x="35395" y="19939"/>
                      <a:pt x="36486" y="17726"/>
                      <a:pt x="36337" y="15423"/>
                    </a:cubicBezTo>
                    <a:cubicBezTo>
                      <a:pt x="36546" y="13105"/>
                      <a:pt x="35455" y="10862"/>
                      <a:pt x="33496" y="9591"/>
                    </a:cubicBezTo>
                    <a:cubicBezTo>
                      <a:pt x="30924" y="8051"/>
                      <a:pt x="27963" y="7333"/>
                      <a:pt x="24972" y="7498"/>
                    </a:cubicBezTo>
                    <a:close/>
                    <a:moveTo>
                      <a:pt x="39926" y="40246"/>
                    </a:moveTo>
                    <a:cubicBezTo>
                      <a:pt x="39926" y="34863"/>
                      <a:pt x="35888" y="32171"/>
                      <a:pt x="27664" y="32171"/>
                    </a:cubicBezTo>
                    <a:lnTo>
                      <a:pt x="10617" y="32171"/>
                    </a:lnTo>
                    <a:lnTo>
                      <a:pt x="10617" y="48470"/>
                    </a:lnTo>
                    <a:lnTo>
                      <a:pt x="27664" y="48470"/>
                    </a:lnTo>
                    <a:cubicBezTo>
                      <a:pt x="35888" y="48470"/>
                      <a:pt x="39926" y="45779"/>
                      <a:pt x="39926" y="4024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62D202F0-B240-2051-2363-11712D09C45A}"/>
                  </a:ext>
                </a:extLst>
              </p:cNvPr>
              <p:cNvSpPr/>
              <p:nvPr/>
            </p:nvSpPr>
            <p:spPr>
              <a:xfrm>
                <a:off x="4657901" y="3305780"/>
                <a:ext cx="40224" cy="56673"/>
              </a:xfrm>
              <a:custGeom>
                <a:avLst/>
                <a:gdLst>
                  <a:gd name="connsiteX0" fmla="*/ 0 w 40224"/>
                  <a:gd name="connsiteY0" fmla="*/ 0 h 56673"/>
                  <a:gd name="connsiteX1" fmla="*/ 10617 w 40224"/>
                  <a:gd name="connsiteY1" fmla="*/ 0 h 56673"/>
                  <a:gd name="connsiteX2" fmla="*/ 10617 w 40224"/>
                  <a:gd name="connsiteY2" fmla="*/ 47851 h 56673"/>
                  <a:gd name="connsiteX3" fmla="*/ 40225 w 40224"/>
                  <a:gd name="connsiteY3" fmla="*/ 47851 h 56673"/>
                  <a:gd name="connsiteX4" fmla="*/ 40225 w 40224"/>
                  <a:gd name="connsiteY4" fmla="*/ 56673 h 56673"/>
                  <a:gd name="connsiteX5" fmla="*/ 0 w 40224"/>
                  <a:gd name="connsiteY5" fmla="*/ 56673 h 56673"/>
                  <a:gd name="connsiteX6" fmla="*/ 0 w 40224"/>
                  <a:gd name="connsiteY6" fmla="*/ 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224" h="56673">
                    <a:moveTo>
                      <a:pt x="0" y="0"/>
                    </a:moveTo>
                    <a:lnTo>
                      <a:pt x="10617" y="0"/>
                    </a:lnTo>
                    <a:lnTo>
                      <a:pt x="10617" y="47851"/>
                    </a:lnTo>
                    <a:lnTo>
                      <a:pt x="40225" y="47851"/>
                    </a:lnTo>
                    <a:lnTo>
                      <a:pt x="40225" y="56673"/>
                    </a:lnTo>
                    <a:lnTo>
                      <a:pt x="0" y="5667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7B22793E-5B44-B5EB-918E-0A963AFB8461}"/>
                  </a:ext>
                </a:extLst>
              </p:cNvPr>
              <p:cNvSpPr/>
              <p:nvPr/>
            </p:nvSpPr>
            <p:spPr>
              <a:xfrm>
                <a:off x="4744032" y="3305780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3 h 56673"/>
                  <a:gd name="connsiteX6" fmla="*/ 10617 w 42617"/>
                  <a:gd name="connsiteY6" fmla="*/ 8823 h 56673"/>
                  <a:gd name="connsiteX7" fmla="*/ 10617 w 42617"/>
                  <a:gd name="connsiteY7" fmla="*/ 23626 h 56673"/>
                  <a:gd name="connsiteX8" fmla="*/ 37982 w 42617"/>
                  <a:gd name="connsiteY8" fmla="*/ 23626 h 56673"/>
                  <a:gd name="connsiteX9" fmla="*/ 37982 w 42617"/>
                  <a:gd name="connsiteY9" fmla="*/ 32299 h 56673"/>
                  <a:gd name="connsiteX10" fmla="*/ 10617 w 42617"/>
                  <a:gd name="connsiteY10" fmla="*/ 32299 h 56673"/>
                  <a:gd name="connsiteX11" fmla="*/ 1061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617" y="8823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129E3416-D9A6-F380-C678-CE5DFF459E96}"/>
                  </a:ext>
                </a:extLst>
              </p:cNvPr>
              <p:cNvSpPr/>
              <p:nvPr/>
            </p:nvSpPr>
            <p:spPr>
              <a:xfrm>
                <a:off x="4833149" y="3350334"/>
                <a:ext cx="12529" cy="24381"/>
              </a:xfrm>
              <a:custGeom>
                <a:avLst/>
                <a:gdLst>
                  <a:gd name="connsiteX0" fmla="*/ 10623 w 12529"/>
                  <a:gd name="connsiteY0" fmla="*/ 1204 h 24381"/>
                  <a:gd name="connsiteX1" fmla="*/ 12417 w 12529"/>
                  <a:gd name="connsiteY1" fmla="*/ 5989 h 24381"/>
                  <a:gd name="connsiteX2" fmla="*/ 12417 w 12529"/>
                  <a:gd name="connsiteY2" fmla="*/ 8680 h 24381"/>
                  <a:gd name="connsiteX3" fmla="*/ 10922 w 12529"/>
                  <a:gd name="connsiteY3" fmla="*/ 13017 h 24381"/>
                  <a:gd name="connsiteX4" fmla="*/ 6735 w 12529"/>
                  <a:gd name="connsiteY4" fmla="*/ 24382 h 24381"/>
                  <a:gd name="connsiteX5" fmla="*/ 155 w 12529"/>
                  <a:gd name="connsiteY5" fmla="*/ 24382 h 24381"/>
                  <a:gd name="connsiteX6" fmla="*/ 3445 w 12529"/>
                  <a:gd name="connsiteY6" fmla="*/ 11970 h 24381"/>
                  <a:gd name="connsiteX7" fmla="*/ 903 w 12529"/>
                  <a:gd name="connsiteY7" fmla="*/ 10475 h 24381"/>
                  <a:gd name="connsiteX8" fmla="*/ 6 w 12529"/>
                  <a:gd name="connsiteY8" fmla="*/ 6737 h 24381"/>
                  <a:gd name="connsiteX9" fmla="*/ 1800 w 12529"/>
                  <a:gd name="connsiteY9" fmla="*/ 1951 h 24381"/>
                  <a:gd name="connsiteX10" fmla="*/ 6436 w 12529"/>
                  <a:gd name="connsiteY10" fmla="*/ 8 h 24381"/>
                  <a:gd name="connsiteX11" fmla="*/ 11221 w 12529"/>
                  <a:gd name="connsiteY11" fmla="*/ 1951 h 2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29" h="24381">
                    <a:moveTo>
                      <a:pt x="10623" y="1204"/>
                    </a:moveTo>
                    <a:cubicBezTo>
                      <a:pt x="11834" y="2490"/>
                      <a:pt x="12492" y="4224"/>
                      <a:pt x="12417" y="5989"/>
                    </a:cubicBezTo>
                    <a:cubicBezTo>
                      <a:pt x="12567" y="6886"/>
                      <a:pt x="12567" y="7783"/>
                      <a:pt x="12417" y="8680"/>
                    </a:cubicBezTo>
                    <a:cubicBezTo>
                      <a:pt x="12417" y="9727"/>
                      <a:pt x="11669" y="11073"/>
                      <a:pt x="10922" y="13017"/>
                    </a:cubicBezTo>
                    <a:lnTo>
                      <a:pt x="6735" y="24382"/>
                    </a:lnTo>
                    <a:lnTo>
                      <a:pt x="155" y="24382"/>
                    </a:lnTo>
                    <a:lnTo>
                      <a:pt x="3445" y="11970"/>
                    </a:lnTo>
                    <a:cubicBezTo>
                      <a:pt x="2488" y="11686"/>
                      <a:pt x="1606" y="11178"/>
                      <a:pt x="903" y="10475"/>
                    </a:cubicBezTo>
                    <a:cubicBezTo>
                      <a:pt x="275" y="9323"/>
                      <a:pt x="-39" y="8037"/>
                      <a:pt x="6" y="6737"/>
                    </a:cubicBezTo>
                    <a:cubicBezTo>
                      <a:pt x="-69" y="4972"/>
                      <a:pt x="589" y="3237"/>
                      <a:pt x="1800" y="1951"/>
                    </a:cubicBezTo>
                    <a:cubicBezTo>
                      <a:pt x="2982" y="651"/>
                      <a:pt x="4686" y="-52"/>
                      <a:pt x="6436" y="8"/>
                    </a:cubicBezTo>
                    <a:cubicBezTo>
                      <a:pt x="8245" y="-82"/>
                      <a:pt x="9995" y="636"/>
                      <a:pt x="11221" y="195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F1FC5E51-2C62-F05E-994E-7B95456812B0}"/>
                  </a:ext>
                </a:extLst>
              </p:cNvPr>
              <p:cNvSpPr/>
              <p:nvPr/>
            </p:nvSpPr>
            <p:spPr>
              <a:xfrm>
                <a:off x="2714705" y="3403117"/>
                <a:ext cx="55895" cy="56835"/>
              </a:xfrm>
              <a:custGeom>
                <a:avLst/>
                <a:gdLst>
                  <a:gd name="connsiteX0" fmla="*/ 0 w 55895"/>
                  <a:gd name="connsiteY0" fmla="*/ 10 h 56835"/>
                  <a:gd name="connsiteX1" fmla="*/ 24823 w 55895"/>
                  <a:gd name="connsiteY1" fmla="*/ 10 h 56835"/>
                  <a:gd name="connsiteX2" fmla="*/ 40972 w 55895"/>
                  <a:gd name="connsiteY2" fmla="*/ 3450 h 56835"/>
                  <a:gd name="connsiteX3" fmla="*/ 51888 w 55895"/>
                  <a:gd name="connsiteY3" fmla="*/ 13468 h 56835"/>
                  <a:gd name="connsiteX4" fmla="*/ 51888 w 55895"/>
                  <a:gd name="connsiteY4" fmla="*/ 43375 h 56835"/>
                  <a:gd name="connsiteX5" fmla="*/ 40972 w 55895"/>
                  <a:gd name="connsiteY5" fmla="*/ 53394 h 56835"/>
                  <a:gd name="connsiteX6" fmla="*/ 24823 w 55895"/>
                  <a:gd name="connsiteY6" fmla="*/ 56833 h 56835"/>
                  <a:gd name="connsiteX7" fmla="*/ 0 w 55895"/>
                  <a:gd name="connsiteY7" fmla="*/ 56833 h 56835"/>
                  <a:gd name="connsiteX8" fmla="*/ 24374 w 55895"/>
                  <a:gd name="connsiteY8" fmla="*/ 47413 h 56835"/>
                  <a:gd name="connsiteX9" fmla="*/ 35290 w 55895"/>
                  <a:gd name="connsiteY9" fmla="*/ 45020 h 56835"/>
                  <a:gd name="connsiteX10" fmla="*/ 42617 w 55895"/>
                  <a:gd name="connsiteY10" fmla="*/ 38291 h 56835"/>
                  <a:gd name="connsiteX11" fmla="*/ 45159 w 55895"/>
                  <a:gd name="connsiteY11" fmla="*/ 27973 h 56835"/>
                  <a:gd name="connsiteX12" fmla="*/ 42617 w 55895"/>
                  <a:gd name="connsiteY12" fmla="*/ 17805 h 56835"/>
                  <a:gd name="connsiteX13" fmla="*/ 35290 w 55895"/>
                  <a:gd name="connsiteY13" fmla="*/ 10926 h 56835"/>
                  <a:gd name="connsiteX14" fmla="*/ 24374 w 55895"/>
                  <a:gd name="connsiteY14" fmla="*/ 8534 h 56835"/>
                  <a:gd name="connsiteX15" fmla="*/ 10916 w 55895"/>
                  <a:gd name="connsiteY15" fmla="*/ 8534 h 56835"/>
                  <a:gd name="connsiteX16" fmla="*/ 10916 w 55895"/>
                  <a:gd name="connsiteY16" fmla="*/ 47413 h 56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5895" h="56835">
                    <a:moveTo>
                      <a:pt x="0" y="10"/>
                    </a:moveTo>
                    <a:lnTo>
                      <a:pt x="24823" y="10"/>
                    </a:lnTo>
                    <a:cubicBezTo>
                      <a:pt x="30401" y="-124"/>
                      <a:pt x="35933" y="1057"/>
                      <a:pt x="40972" y="3450"/>
                    </a:cubicBezTo>
                    <a:cubicBezTo>
                      <a:pt x="45500" y="5663"/>
                      <a:pt x="49291" y="9147"/>
                      <a:pt x="51888" y="13468"/>
                    </a:cubicBezTo>
                    <a:cubicBezTo>
                      <a:pt x="57231" y="22725"/>
                      <a:pt x="57231" y="34119"/>
                      <a:pt x="51888" y="43375"/>
                    </a:cubicBezTo>
                    <a:cubicBezTo>
                      <a:pt x="49291" y="47697"/>
                      <a:pt x="45500" y="51181"/>
                      <a:pt x="40972" y="53394"/>
                    </a:cubicBezTo>
                    <a:cubicBezTo>
                      <a:pt x="35910" y="55727"/>
                      <a:pt x="30394" y="56893"/>
                      <a:pt x="24823" y="56833"/>
                    </a:cubicBezTo>
                    <a:lnTo>
                      <a:pt x="0" y="56833"/>
                    </a:lnTo>
                    <a:close/>
                    <a:moveTo>
                      <a:pt x="24374" y="47413"/>
                    </a:moveTo>
                    <a:cubicBezTo>
                      <a:pt x="28154" y="47517"/>
                      <a:pt x="31903" y="46695"/>
                      <a:pt x="35290" y="45020"/>
                    </a:cubicBezTo>
                    <a:cubicBezTo>
                      <a:pt x="38385" y="43615"/>
                      <a:pt x="40952" y="41252"/>
                      <a:pt x="42617" y="38291"/>
                    </a:cubicBezTo>
                    <a:cubicBezTo>
                      <a:pt x="44332" y="35121"/>
                      <a:pt x="45207" y="31577"/>
                      <a:pt x="45159" y="27973"/>
                    </a:cubicBezTo>
                    <a:cubicBezTo>
                      <a:pt x="45229" y="24414"/>
                      <a:pt x="44352" y="20915"/>
                      <a:pt x="42617" y="17805"/>
                    </a:cubicBezTo>
                    <a:cubicBezTo>
                      <a:pt x="40914" y="14829"/>
                      <a:pt x="38363" y="12437"/>
                      <a:pt x="35290" y="10926"/>
                    </a:cubicBezTo>
                    <a:cubicBezTo>
                      <a:pt x="31879" y="9311"/>
                      <a:pt x="28147" y="8489"/>
                      <a:pt x="24374" y="8534"/>
                    </a:cubicBezTo>
                    <a:lnTo>
                      <a:pt x="10916" y="8534"/>
                    </a:lnTo>
                    <a:lnTo>
                      <a:pt x="10916" y="4741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A1A35625-3617-F753-8607-7D0B674190B3}"/>
                  </a:ext>
                </a:extLst>
              </p:cNvPr>
              <p:cNvSpPr/>
              <p:nvPr/>
            </p:nvSpPr>
            <p:spPr>
              <a:xfrm>
                <a:off x="2808149" y="3403576"/>
                <a:ext cx="50760" cy="57474"/>
              </a:xfrm>
              <a:custGeom>
                <a:avLst/>
                <a:gdLst>
                  <a:gd name="connsiteX0" fmla="*/ 7192 w 50760"/>
                  <a:gd name="connsiteY0" fmla="*/ 50393 h 57474"/>
                  <a:gd name="connsiteX1" fmla="*/ 15 w 50760"/>
                  <a:gd name="connsiteY1" fmla="*/ 32000 h 57474"/>
                  <a:gd name="connsiteX2" fmla="*/ 15 w 50760"/>
                  <a:gd name="connsiteY2" fmla="*/ 0 h 57474"/>
                  <a:gd name="connsiteX3" fmla="*/ 10482 w 50760"/>
                  <a:gd name="connsiteY3" fmla="*/ 0 h 57474"/>
                  <a:gd name="connsiteX4" fmla="*/ 10482 w 50760"/>
                  <a:gd name="connsiteY4" fmla="*/ 31552 h 57474"/>
                  <a:gd name="connsiteX5" fmla="*/ 25436 w 50760"/>
                  <a:gd name="connsiteY5" fmla="*/ 48299 h 57474"/>
                  <a:gd name="connsiteX6" fmla="*/ 40389 w 50760"/>
                  <a:gd name="connsiteY6" fmla="*/ 31552 h 57474"/>
                  <a:gd name="connsiteX7" fmla="*/ 40389 w 50760"/>
                  <a:gd name="connsiteY7" fmla="*/ 0 h 57474"/>
                  <a:gd name="connsiteX8" fmla="*/ 50707 w 50760"/>
                  <a:gd name="connsiteY8" fmla="*/ 0 h 57474"/>
                  <a:gd name="connsiteX9" fmla="*/ 50707 w 50760"/>
                  <a:gd name="connsiteY9" fmla="*/ 32000 h 57474"/>
                  <a:gd name="connsiteX10" fmla="*/ 44127 w 50760"/>
                  <a:gd name="connsiteY10" fmla="*/ 50842 h 57474"/>
                  <a:gd name="connsiteX11" fmla="*/ 25884 w 50760"/>
                  <a:gd name="connsiteY11" fmla="*/ 57421 h 57474"/>
                  <a:gd name="connsiteX12" fmla="*/ 7192 w 50760"/>
                  <a:gd name="connsiteY12" fmla="*/ 50393 h 57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760" h="57474">
                    <a:moveTo>
                      <a:pt x="7192" y="50393"/>
                    </a:moveTo>
                    <a:cubicBezTo>
                      <a:pt x="2375" y="45503"/>
                      <a:pt x="-221" y="38864"/>
                      <a:pt x="15" y="32000"/>
                    </a:cubicBezTo>
                    <a:lnTo>
                      <a:pt x="15" y="0"/>
                    </a:lnTo>
                    <a:lnTo>
                      <a:pt x="10482" y="0"/>
                    </a:lnTo>
                    <a:lnTo>
                      <a:pt x="10482" y="31552"/>
                    </a:lnTo>
                    <a:cubicBezTo>
                      <a:pt x="10482" y="42617"/>
                      <a:pt x="15267" y="48299"/>
                      <a:pt x="25436" y="48299"/>
                    </a:cubicBezTo>
                    <a:cubicBezTo>
                      <a:pt x="35604" y="48299"/>
                      <a:pt x="40389" y="42617"/>
                      <a:pt x="40389" y="31552"/>
                    </a:cubicBezTo>
                    <a:lnTo>
                      <a:pt x="40389" y="0"/>
                    </a:lnTo>
                    <a:lnTo>
                      <a:pt x="50707" y="0"/>
                    </a:lnTo>
                    <a:lnTo>
                      <a:pt x="50707" y="32000"/>
                    </a:lnTo>
                    <a:cubicBezTo>
                      <a:pt x="51156" y="38909"/>
                      <a:pt x="48782" y="45713"/>
                      <a:pt x="44127" y="50842"/>
                    </a:cubicBezTo>
                    <a:cubicBezTo>
                      <a:pt x="39228" y="55477"/>
                      <a:pt x="32616" y="57870"/>
                      <a:pt x="25884" y="57421"/>
                    </a:cubicBezTo>
                    <a:cubicBezTo>
                      <a:pt x="18933" y="57870"/>
                      <a:pt x="12123" y="55313"/>
                      <a:pt x="7192" y="50393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AA3123C0-2E56-1C00-C024-E9E657CE43BB}"/>
                  </a:ext>
                </a:extLst>
              </p:cNvPr>
              <p:cNvSpPr/>
              <p:nvPr/>
            </p:nvSpPr>
            <p:spPr>
              <a:xfrm>
                <a:off x="2943191" y="3402379"/>
                <a:ext cx="52338" cy="58314"/>
              </a:xfrm>
              <a:custGeom>
                <a:avLst/>
                <a:gdLst>
                  <a:gd name="connsiteX0" fmla="*/ 14806 w 52338"/>
                  <a:gd name="connsiteY0" fmla="*/ 54430 h 58314"/>
                  <a:gd name="connsiteX1" fmla="*/ 4039 w 52338"/>
                  <a:gd name="connsiteY1" fmla="*/ 44113 h 58314"/>
                  <a:gd name="connsiteX2" fmla="*/ 2 w 52338"/>
                  <a:gd name="connsiteY2" fmla="*/ 29159 h 58314"/>
                  <a:gd name="connsiteX3" fmla="*/ 14955 w 52338"/>
                  <a:gd name="connsiteY3" fmla="*/ 3738 h 58314"/>
                  <a:gd name="connsiteX4" fmla="*/ 29909 w 52338"/>
                  <a:gd name="connsiteY4" fmla="*/ 0 h 58314"/>
                  <a:gd name="connsiteX5" fmla="*/ 42619 w 52338"/>
                  <a:gd name="connsiteY5" fmla="*/ 2393 h 58314"/>
                  <a:gd name="connsiteX6" fmla="*/ 52339 w 52338"/>
                  <a:gd name="connsiteY6" fmla="*/ 9570 h 58314"/>
                  <a:gd name="connsiteX7" fmla="*/ 45460 w 52338"/>
                  <a:gd name="connsiteY7" fmla="*/ 15851 h 58314"/>
                  <a:gd name="connsiteX8" fmla="*/ 30507 w 52338"/>
                  <a:gd name="connsiteY8" fmla="*/ 9271 h 58314"/>
                  <a:gd name="connsiteX9" fmla="*/ 20039 w 52338"/>
                  <a:gd name="connsiteY9" fmla="*/ 11813 h 58314"/>
                  <a:gd name="connsiteX10" fmla="*/ 12862 w 52338"/>
                  <a:gd name="connsiteY10" fmla="*/ 18841 h 58314"/>
                  <a:gd name="connsiteX11" fmla="*/ 10170 w 52338"/>
                  <a:gd name="connsiteY11" fmla="*/ 29159 h 58314"/>
                  <a:gd name="connsiteX12" fmla="*/ 12862 w 52338"/>
                  <a:gd name="connsiteY12" fmla="*/ 39477 h 58314"/>
                  <a:gd name="connsiteX13" fmla="*/ 20039 w 52338"/>
                  <a:gd name="connsiteY13" fmla="*/ 46655 h 58314"/>
                  <a:gd name="connsiteX14" fmla="*/ 30507 w 52338"/>
                  <a:gd name="connsiteY14" fmla="*/ 49197 h 58314"/>
                  <a:gd name="connsiteX15" fmla="*/ 45460 w 52338"/>
                  <a:gd name="connsiteY15" fmla="*/ 42468 h 58314"/>
                  <a:gd name="connsiteX16" fmla="*/ 52339 w 52338"/>
                  <a:gd name="connsiteY16" fmla="*/ 48898 h 58314"/>
                  <a:gd name="connsiteX17" fmla="*/ 42469 w 52338"/>
                  <a:gd name="connsiteY17" fmla="*/ 55926 h 58314"/>
                  <a:gd name="connsiteX18" fmla="*/ 14207 w 52338"/>
                  <a:gd name="connsiteY18" fmla="*/ 54580 h 5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2338" h="58314">
                    <a:moveTo>
                      <a:pt x="14806" y="54430"/>
                    </a:moveTo>
                    <a:cubicBezTo>
                      <a:pt x="10336" y="52053"/>
                      <a:pt x="6610" y="48479"/>
                      <a:pt x="4039" y="44113"/>
                    </a:cubicBezTo>
                    <a:cubicBezTo>
                      <a:pt x="1356" y="39582"/>
                      <a:pt x="-40" y="34423"/>
                      <a:pt x="2" y="29159"/>
                    </a:cubicBezTo>
                    <a:cubicBezTo>
                      <a:pt x="-113" y="18572"/>
                      <a:pt x="5642" y="8778"/>
                      <a:pt x="14955" y="3738"/>
                    </a:cubicBezTo>
                    <a:cubicBezTo>
                      <a:pt x="19577" y="1331"/>
                      <a:pt x="24700" y="60"/>
                      <a:pt x="29909" y="0"/>
                    </a:cubicBezTo>
                    <a:cubicBezTo>
                      <a:pt x="34257" y="0"/>
                      <a:pt x="38568" y="807"/>
                      <a:pt x="42619" y="2393"/>
                    </a:cubicBezTo>
                    <a:cubicBezTo>
                      <a:pt x="46359" y="4023"/>
                      <a:pt x="49681" y="6475"/>
                      <a:pt x="52339" y="9570"/>
                    </a:cubicBezTo>
                    <a:lnTo>
                      <a:pt x="45460" y="15851"/>
                    </a:lnTo>
                    <a:cubicBezTo>
                      <a:pt x="41648" y="11619"/>
                      <a:pt x="36204" y="9226"/>
                      <a:pt x="30507" y="9271"/>
                    </a:cubicBezTo>
                    <a:cubicBezTo>
                      <a:pt x="26860" y="9226"/>
                      <a:pt x="23259" y="10094"/>
                      <a:pt x="20039" y="11813"/>
                    </a:cubicBezTo>
                    <a:cubicBezTo>
                      <a:pt x="17001" y="13383"/>
                      <a:pt x="14502" y="15836"/>
                      <a:pt x="12862" y="18841"/>
                    </a:cubicBezTo>
                    <a:cubicBezTo>
                      <a:pt x="11069" y="21982"/>
                      <a:pt x="10140" y="25540"/>
                      <a:pt x="10170" y="29159"/>
                    </a:cubicBezTo>
                    <a:cubicBezTo>
                      <a:pt x="10095" y="32778"/>
                      <a:pt x="11027" y="36352"/>
                      <a:pt x="12862" y="39477"/>
                    </a:cubicBezTo>
                    <a:cubicBezTo>
                      <a:pt x="14533" y="42498"/>
                      <a:pt x="17020" y="44980"/>
                      <a:pt x="20039" y="46655"/>
                    </a:cubicBezTo>
                    <a:cubicBezTo>
                      <a:pt x="23259" y="48374"/>
                      <a:pt x="26860" y="49242"/>
                      <a:pt x="30507" y="49197"/>
                    </a:cubicBezTo>
                    <a:cubicBezTo>
                      <a:pt x="36235" y="49242"/>
                      <a:pt x="41699" y="46789"/>
                      <a:pt x="45460" y="42468"/>
                    </a:cubicBezTo>
                    <a:lnTo>
                      <a:pt x="52339" y="48898"/>
                    </a:lnTo>
                    <a:cubicBezTo>
                      <a:pt x="49647" y="51978"/>
                      <a:pt x="46266" y="54386"/>
                      <a:pt x="42469" y="55926"/>
                    </a:cubicBezTo>
                    <a:cubicBezTo>
                      <a:pt x="33288" y="59530"/>
                      <a:pt x="23005" y="59036"/>
                      <a:pt x="14207" y="54580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EDC799D3-07CF-F983-5E02-A0F470C83359}"/>
                  </a:ext>
                </a:extLst>
              </p:cNvPr>
              <p:cNvSpPr/>
              <p:nvPr/>
            </p:nvSpPr>
            <p:spPr>
              <a:xfrm>
                <a:off x="3027745" y="3402234"/>
                <a:ext cx="61246" cy="58161"/>
              </a:xfrm>
              <a:custGeom>
                <a:avLst/>
                <a:gdLst>
                  <a:gd name="connsiteX0" fmla="*/ 15038 w 61246"/>
                  <a:gd name="connsiteY0" fmla="*/ 54576 h 58161"/>
                  <a:gd name="connsiteX1" fmla="*/ 3594 w 61246"/>
                  <a:gd name="connsiteY1" fmla="*/ 15174 h 58161"/>
                  <a:gd name="connsiteX2" fmla="*/ 15038 w 61246"/>
                  <a:gd name="connsiteY2" fmla="*/ 3735 h 58161"/>
                  <a:gd name="connsiteX3" fmla="*/ 46291 w 61246"/>
                  <a:gd name="connsiteY3" fmla="*/ 3735 h 58161"/>
                  <a:gd name="connsiteX4" fmla="*/ 57207 w 61246"/>
                  <a:gd name="connsiteY4" fmla="*/ 14202 h 58161"/>
                  <a:gd name="connsiteX5" fmla="*/ 61244 w 61246"/>
                  <a:gd name="connsiteY5" fmla="*/ 29156 h 58161"/>
                  <a:gd name="connsiteX6" fmla="*/ 57207 w 61246"/>
                  <a:gd name="connsiteY6" fmla="*/ 44109 h 58161"/>
                  <a:gd name="connsiteX7" fmla="*/ 46291 w 61246"/>
                  <a:gd name="connsiteY7" fmla="*/ 54427 h 58161"/>
                  <a:gd name="connsiteX8" fmla="*/ 15038 w 61246"/>
                  <a:gd name="connsiteY8" fmla="*/ 54427 h 58161"/>
                  <a:gd name="connsiteX9" fmla="*/ 40908 w 61246"/>
                  <a:gd name="connsiteY9" fmla="*/ 46501 h 58161"/>
                  <a:gd name="connsiteX10" fmla="*/ 48085 w 61246"/>
                  <a:gd name="connsiteY10" fmla="*/ 39324 h 58161"/>
                  <a:gd name="connsiteX11" fmla="*/ 50627 w 61246"/>
                  <a:gd name="connsiteY11" fmla="*/ 29006 h 58161"/>
                  <a:gd name="connsiteX12" fmla="*/ 48085 w 61246"/>
                  <a:gd name="connsiteY12" fmla="*/ 18838 h 58161"/>
                  <a:gd name="connsiteX13" fmla="*/ 40908 w 61246"/>
                  <a:gd name="connsiteY13" fmla="*/ 11660 h 58161"/>
                  <a:gd name="connsiteX14" fmla="*/ 30739 w 61246"/>
                  <a:gd name="connsiteY14" fmla="*/ 9118 h 58161"/>
                  <a:gd name="connsiteX15" fmla="*/ 20421 w 61246"/>
                  <a:gd name="connsiteY15" fmla="*/ 11660 h 58161"/>
                  <a:gd name="connsiteX16" fmla="*/ 13393 w 61246"/>
                  <a:gd name="connsiteY16" fmla="*/ 18838 h 58161"/>
                  <a:gd name="connsiteX17" fmla="*/ 10702 w 61246"/>
                  <a:gd name="connsiteY17" fmla="*/ 29006 h 58161"/>
                  <a:gd name="connsiteX18" fmla="*/ 13393 w 61246"/>
                  <a:gd name="connsiteY18" fmla="*/ 39324 h 58161"/>
                  <a:gd name="connsiteX19" fmla="*/ 20421 w 61246"/>
                  <a:gd name="connsiteY19" fmla="*/ 46501 h 58161"/>
                  <a:gd name="connsiteX20" fmla="*/ 30739 w 61246"/>
                  <a:gd name="connsiteY20" fmla="*/ 49044 h 58161"/>
                  <a:gd name="connsiteX21" fmla="*/ 40908 w 61246"/>
                  <a:gd name="connsiteY21" fmla="*/ 46501 h 58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1246" h="58161">
                    <a:moveTo>
                      <a:pt x="15038" y="54576"/>
                    </a:moveTo>
                    <a:cubicBezTo>
                      <a:pt x="998" y="46860"/>
                      <a:pt x="-4125" y="29215"/>
                      <a:pt x="3594" y="15174"/>
                    </a:cubicBezTo>
                    <a:cubicBezTo>
                      <a:pt x="6246" y="10359"/>
                      <a:pt x="10214" y="6381"/>
                      <a:pt x="15038" y="3735"/>
                    </a:cubicBezTo>
                    <a:cubicBezTo>
                      <a:pt x="24860" y="-1245"/>
                      <a:pt x="36469" y="-1245"/>
                      <a:pt x="46291" y="3735"/>
                    </a:cubicBezTo>
                    <a:cubicBezTo>
                      <a:pt x="50846" y="6127"/>
                      <a:pt x="54630" y="9746"/>
                      <a:pt x="57207" y="14202"/>
                    </a:cubicBezTo>
                    <a:cubicBezTo>
                      <a:pt x="59912" y="18718"/>
                      <a:pt x="61309" y="23892"/>
                      <a:pt x="61244" y="29156"/>
                    </a:cubicBezTo>
                    <a:cubicBezTo>
                      <a:pt x="61286" y="34419"/>
                      <a:pt x="59890" y="39578"/>
                      <a:pt x="57207" y="44109"/>
                    </a:cubicBezTo>
                    <a:cubicBezTo>
                      <a:pt x="54577" y="48475"/>
                      <a:pt x="50802" y="52049"/>
                      <a:pt x="46291" y="54427"/>
                    </a:cubicBezTo>
                    <a:cubicBezTo>
                      <a:pt x="36469" y="59406"/>
                      <a:pt x="24860" y="59406"/>
                      <a:pt x="15038" y="54427"/>
                    </a:cubicBezTo>
                    <a:moveTo>
                      <a:pt x="40908" y="46501"/>
                    </a:moveTo>
                    <a:cubicBezTo>
                      <a:pt x="43861" y="44737"/>
                      <a:pt x="46328" y="42270"/>
                      <a:pt x="48085" y="39324"/>
                    </a:cubicBezTo>
                    <a:cubicBezTo>
                      <a:pt x="49781" y="36154"/>
                      <a:pt x="50656" y="32610"/>
                      <a:pt x="50627" y="29006"/>
                    </a:cubicBezTo>
                    <a:cubicBezTo>
                      <a:pt x="50656" y="25462"/>
                      <a:pt x="49781" y="21963"/>
                      <a:pt x="48085" y="18838"/>
                    </a:cubicBezTo>
                    <a:cubicBezTo>
                      <a:pt x="46413" y="15817"/>
                      <a:pt x="43927" y="13335"/>
                      <a:pt x="40908" y="11660"/>
                    </a:cubicBezTo>
                    <a:cubicBezTo>
                      <a:pt x="37788" y="9970"/>
                      <a:pt x="34289" y="9088"/>
                      <a:pt x="30739" y="9118"/>
                    </a:cubicBezTo>
                    <a:cubicBezTo>
                      <a:pt x="27142" y="9088"/>
                      <a:pt x="23595" y="9970"/>
                      <a:pt x="20421" y="11660"/>
                    </a:cubicBezTo>
                    <a:cubicBezTo>
                      <a:pt x="17417" y="13305"/>
                      <a:pt x="14969" y="15802"/>
                      <a:pt x="13393" y="18838"/>
                    </a:cubicBezTo>
                    <a:cubicBezTo>
                      <a:pt x="11580" y="21918"/>
                      <a:pt x="10648" y="25432"/>
                      <a:pt x="10702" y="29006"/>
                    </a:cubicBezTo>
                    <a:cubicBezTo>
                      <a:pt x="10651" y="32625"/>
                      <a:pt x="11581" y="36184"/>
                      <a:pt x="13393" y="39324"/>
                    </a:cubicBezTo>
                    <a:cubicBezTo>
                      <a:pt x="15049" y="42300"/>
                      <a:pt x="17477" y="44782"/>
                      <a:pt x="20421" y="46501"/>
                    </a:cubicBezTo>
                    <a:cubicBezTo>
                      <a:pt x="23595" y="48191"/>
                      <a:pt x="27142" y="49073"/>
                      <a:pt x="30739" y="49044"/>
                    </a:cubicBezTo>
                    <a:cubicBezTo>
                      <a:pt x="34289" y="49073"/>
                      <a:pt x="37788" y="48191"/>
                      <a:pt x="40908" y="4650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B8319B35-1216-A917-5E93-42A08AA86409}"/>
                  </a:ext>
                </a:extLst>
              </p:cNvPr>
              <p:cNvSpPr/>
              <p:nvPr/>
            </p:nvSpPr>
            <p:spPr>
              <a:xfrm>
                <a:off x="3127120" y="3403127"/>
                <a:ext cx="62056" cy="56673"/>
              </a:xfrm>
              <a:custGeom>
                <a:avLst/>
                <a:gdLst>
                  <a:gd name="connsiteX0" fmla="*/ 52038 w 62056"/>
                  <a:gd name="connsiteY0" fmla="*/ 56673 h 56673"/>
                  <a:gd name="connsiteX1" fmla="*/ 52038 w 62056"/>
                  <a:gd name="connsiteY1" fmla="*/ 19140 h 56673"/>
                  <a:gd name="connsiteX2" fmla="*/ 33346 w 62056"/>
                  <a:gd name="connsiteY2" fmla="*/ 50244 h 56673"/>
                  <a:gd name="connsiteX3" fmla="*/ 28711 w 62056"/>
                  <a:gd name="connsiteY3" fmla="*/ 50244 h 56673"/>
                  <a:gd name="connsiteX4" fmla="*/ 10019 w 62056"/>
                  <a:gd name="connsiteY4" fmla="*/ 19589 h 56673"/>
                  <a:gd name="connsiteX5" fmla="*/ 10019 w 62056"/>
                  <a:gd name="connsiteY5" fmla="*/ 56673 h 56673"/>
                  <a:gd name="connsiteX6" fmla="*/ 0 w 62056"/>
                  <a:gd name="connsiteY6" fmla="*/ 56673 h 56673"/>
                  <a:gd name="connsiteX7" fmla="*/ 0 w 62056"/>
                  <a:gd name="connsiteY7" fmla="*/ 0 h 56673"/>
                  <a:gd name="connsiteX8" fmla="*/ 8673 w 62056"/>
                  <a:gd name="connsiteY8" fmla="*/ 0 h 56673"/>
                  <a:gd name="connsiteX9" fmla="*/ 31103 w 62056"/>
                  <a:gd name="connsiteY9" fmla="*/ 37533 h 56673"/>
                  <a:gd name="connsiteX10" fmla="*/ 53234 w 62056"/>
                  <a:gd name="connsiteY10" fmla="*/ 0 h 56673"/>
                  <a:gd name="connsiteX11" fmla="*/ 62057 w 62056"/>
                  <a:gd name="connsiteY11" fmla="*/ 0 h 56673"/>
                  <a:gd name="connsiteX12" fmla="*/ 62057 w 62056"/>
                  <a:gd name="connsiteY12" fmla="*/ 56673 h 56673"/>
                  <a:gd name="connsiteX13" fmla="*/ 52038 w 62056"/>
                  <a:gd name="connsiteY13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056" h="56673">
                    <a:moveTo>
                      <a:pt x="52038" y="56673"/>
                    </a:moveTo>
                    <a:lnTo>
                      <a:pt x="52038" y="19140"/>
                    </a:lnTo>
                    <a:lnTo>
                      <a:pt x="33346" y="50244"/>
                    </a:lnTo>
                    <a:lnTo>
                      <a:pt x="28711" y="50244"/>
                    </a:lnTo>
                    <a:lnTo>
                      <a:pt x="10019" y="19589"/>
                    </a:lnTo>
                    <a:lnTo>
                      <a:pt x="10019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103" y="37533"/>
                    </a:lnTo>
                    <a:lnTo>
                      <a:pt x="53234" y="0"/>
                    </a:lnTo>
                    <a:lnTo>
                      <a:pt x="62057" y="0"/>
                    </a:lnTo>
                    <a:lnTo>
                      <a:pt x="62057" y="56673"/>
                    </a:lnTo>
                    <a:lnTo>
                      <a:pt x="52038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4C9FD059-A901-1656-92D8-E47AF5528270}"/>
                  </a:ext>
                </a:extLst>
              </p:cNvPr>
              <p:cNvSpPr/>
              <p:nvPr/>
            </p:nvSpPr>
            <p:spPr>
              <a:xfrm>
                <a:off x="3231495" y="3403127"/>
                <a:ext cx="62056" cy="56673"/>
              </a:xfrm>
              <a:custGeom>
                <a:avLst/>
                <a:gdLst>
                  <a:gd name="connsiteX0" fmla="*/ 52038 w 62056"/>
                  <a:gd name="connsiteY0" fmla="*/ 56673 h 56673"/>
                  <a:gd name="connsiteX1" fmla="*/ 52038 w 62056"/>
                  <a:gd name="connsiteY1" fmla="*/ 19140 h 56673"/>
                  <a:gd name="connsiteX2" fmla="*/ 33346 w 62056"/>
                  <a:gd name="connsiteY2" fmla="*/ 50244 h 56673"/>
                  <a:gd name="connsiteX3" fmla="*/ 28561 w 62056"/>
                  <a:gd name="connsiteY3" fmla="*/ 50244 h 56673"/>
                  <a:gd name="connsiteX4" fmla="*/ 10019 w 62056"/>
                  <a:gd name="connsiteY4" fmla="*/ 19589 h 56673"/>
                  <a:gd name="connsiteX5" fmla="*/ 10019 w 62056"/>
                  <a:gd name="connsiteY5" fmla="*/ 56673 h 56673"/>
                  <a:gd name="connsiteX6" fmla="*/ 0 w 62056"/>
                  <a:gd name="connsiteY6" fmla="*/ 56673 h 56673"/>
                  <a:gd name="connsiteX7" fmla="*/ 0 w 62056"/>
                  <a:gd name="connsiteY7" fmla="*/ 0 h 56673"/>
                  <a:gd name="connsiteX8" fmla="*/ 8673 w 62056"/>
                  <a:gd name="connsiteY8" fmla="*/ 0 h 56673"/>
                  <a:gd name="connsiteX9" fmla="*/ 31103 w 62056"/>
                  <a:gd name="connsiteY9" fmla="*/ 37533 h 56673"/>
                  <a:gd name="connsiteX10" fmla="*/ 53234 w 62056"/>
                  <a:gd name="connsiteY10" fmla="*/ 0 h 56673"/>
                  <a:gd name="connsiteX11" fmla="*/ 61907 w 62056"/>
                  <a:gd name="connsiteY11" fmla="*/ 0 h 56673"/>
                  <a:gd name="connsiteX12" fmla="*/ 62057 w 62056"/>
                  <a:gd name="connsiteY12" fmla="*/ 56673 h 56673"/>
                  <a:gd name="connsiteX13" fmla="*/ 52038 w 62056"/>
                  <a:gd name="connsiteY13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056" h="56673">
                    <a:moveTo>
                      <a:pt x="52038" y="56673"/>
                    </a:moveTo>
                    <a:lnTo>
                      <a:pt x="52038" y="19140"/>
                    </a:lnTo>
                    <a:lnTo>
                      <a:pt x="33346" y="50244"/>
                    </a:lnTo>
                    <a:lnTo>
                      <a:pt x="28561" y="50244"/>
                    </a:lnTo>
                    <a:lnTo>
                      <a:pt x="10019" y="19589"/>
                    </a:lnTo>
                    <a:lnTo>
                      <a:pt x="10019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103" y="37533"/>
                    </a:lnTo>
                    <a:lnTo>
                      <a:pt x="53234" y="0"/>
                    </a:lnTo>
                    <a:lnTo>
                      <a:pt x="61907" y="0"/>
                    </a:lnTo>
                    <a:lnTo>
                      <a:pt x="62057" y="56673"/>
                    </a:lnTo>
                    <a:lnTo>
                      <a:pt x="52038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F9AE8388-D0A6-85AF-BA10-004E1BAE13A6}"/>
                  </a:ext>
                </a:extLst>
              </p:cNvPr>
              <p:cNvSpPr/>
              <p:nvPr/>
            </p:nvSpPr>
            <p:spPr>
              <a:xfrm>
                <a:off x="3335720" y="3402978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5C9829E7-89ED-2597-3A08-C64DEA6865C9}"/>
                  </a:ext>
                </a:extLst>
              </p:cNvPr>
              <p:cNvSpPr/>
              <p:nvPr/>
            </p:nvSpPr>
            <p:spPr>
              <a:xfrm>
                <a:off x="3383721" y="3402218"/>
                <a:ext cx="45333" cy="58342"/>
              </a:xfrm>
              <a:custGeom>
                <a:avLst/>
                <a:gdLst>
                  <a:gd name="connsiteX0" fmla="*/ 9720 w 45333"/>
                  <a:gd name="connsiteY0" fmla="*/ 56536 h 58342"/>
                  <a:gd name="connsiteX1" fmla="*/ 0 w 45333"/>
                  <a:gd name="connsiteY1" fmla="*/ 51602 h 58342"/>
                  <a:gd name="connsiteX2" fmla="*/ 3738 w 45333"/>
                  <a:gd name="connsiteY2" fmla="*/ 43377 h 58342"/>
                  <a:gd name="connsiteX3" fmla="*/ 12262 w 45333"/>
                  <a:gd name="connsiteY3" fmla="*/ 47863 h 58342"/>
                  <a:gd name="connsiteX4" fmla="*/ 22430 w 45333"/>
                  <a:gd name="connsiteY4" fmla="*/ 49658 h 58342"/>
                  <a:gd name="connsiteX5" fmla="*/ 31851 w 45333"/>
                  <a:gd name="connsiteY5" fmla="*/ 47564 h 58342"/>
                  <a:gd name="connsiteX6" fmla="*/ 34991 w 45333"/>
                  <a:gd name="connsiteY6" fmla="*/ 42181 h 58342"/>
                  <a:gd name="connsiteX7" fmla="*/ 33197 w 45333"/>
                  <a:gd name="connsiteY7" fmla="*/ 38293 h 58342"/>
                  <a:gd name="connsiteX8" fmla="*/ 28860 w 45333"/>
                  <a:gd name="connsiteY8" fmla="*/ 35751 h 58342"/>
                  <a:gd name="connsiteX9" fmla="*/ 21533 w 45333"/>
                  <a:gd name="connsiteY9" fmla="*/ 33807 h 58342"/>
                  <a:gd name="connsiteX10" fmla="*/ 11066 w 45333"/>
                  <a:gd name="connsiteY10" fmla="*/ 30667 h 58342"/>
                  <a:gd name="connsiteX11" fmla="*/ 4187 w 45333"/>
                  <a:gd name="connsiteY11" fmla="*/ 25882 h 58342"/>
                  <a:gd name="connsiteX12" fmla="*/ 1196 w 45333"/>
                  <a:gd name="connsiteY12" fmla="*/ 16910 h 58342"/>
                  <a:gd name="connsiteX13" fmla="*/ 3738 w 45333"/>
                  <a:gd name="connsiteY13" fmla="*/ 8386 h 58342"/>
                  <a:gd name="connsiteX14" fmla="*/ 11514 w 45333"/>
                  <a:gd name="connsiteY14" fmla="*/ 2255 h 58342"/>
                  <a:gd name="connsiteX15" fmla="*/ 24075 w 45333"/>
                  <a:gd name="connsiteY15" fmla="*/ 12 h 58342"/>
                  <a:gd name="connsiteX16" fmla="*/ 34243 w 45333"/>
                  <a:gd name="connsiteY16" fmla="*/ 1358 h 58342"/>
                  <a:gd name="connsiteX17" fmla="*/ 42916 w 45333"/>
                  <a:gd name="connsiteY17" fmla="*/ 5096 h 58342"/>
                  <a:gd name="connsiteX18" fmla="*/ 39627 w 45333"/>
                  <a:gd name="connsiteY18" fmla="*/ 13171 h 58342"/>
                  <a:gd name="connsiteX19" fmla="*/ 31851 w 45333"/>
                  <a:gd name="connsiteY19" fmla="*/ 9881 h 58342"/>
                  <a:gd name="connsiteX20" fmla="*/ 24075 w 45333"/>
                  <a:gd name="connsiteY20" fmla="*/ 8835 h 58342"/>
                  <a:gd name="connsiteX21" fmla="*/ 14804 w 45333"/>
                  <a:gd name="connsiteY21" fmla="*/ 10928 h 58342"/>
                  <a:gd name="connsiteX22" fmla="*/ 11664 w 45333"/>
                  <a:gd name="connsiteY22" fmla="*/ 16461 h 58342"/>
                  <a:gd name="connsiteX23" fmla="*/ 13458 w 45333"/>
                  <a:gd name="connsiteY23" fmla="*/ 20498 h 58342"/>
                  <a:gd name="connsiteX24" fmla="*/ 17795 w 45333"/>
                  <a:gd name="connsiteY24" fmla="*/ 22891 h 58342"/>
                  <a:gd name="connsiteX25" fmla="*/ 25122 w 45333"/>
                  <a:gd name="connsiteY25" fmla="*/ 24835 h 58342"/>
                  <a:gd name="connsiteX26" fmla="*/ 35589 w 45333"/>
                  <a:gd name="connsiteY26" fmla="*/ 27975 h 58342"/>
                  <a:gd name="connsiteX27" fmla="*/ 42468 w 45333"/>
                  <a:gd name="connsiteY27" fmla="*/ 32760 h 58342"/>
                  <a:gd name="connsiteX28" fmla="*/ 45309 w 45333"/>
                  <a:gd name="connsiteY28" fmla="*/ 41583 h 58342"/>
                  <a:gd name="connsiteX29" fmla="*/ 42767 w 45333"/>
                  <a:gd name="connsiteY29" fmla="*/ 50106 h 58342"/>
                  <a:gd name="connsiteX30" fmla="*/ 34991 w 45333"/>
                  <a:gd name="connsiteY30" fmla="*/ 56088 h 58342"/>
                  <a:gd name="connsiteX31" fmla="*/ 22430 w 45333"/>
                  <a:gd name="connsiteY31" fmla="*/ 58331 h 58342"/>
                  <a:gd name="connsiteX32" fmla="*/ 9720 w 45333"/>
                  <a:gd name="connsiteY32" fmla="*/ 56536 h 5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3" h="58342">
                    <a:moveTo>
                      <a:pt x="9720" y="56536"/>
                    </a:moveTo>
                    <a:cubicBezTo>
                      <a:pt x="6167" y="55594"/>
                      <a:pt x="2853" y="53919"/>
                      <a:pt x="0" y="51602"/>
                    </a:cubicBezTo>
                    <a:lnTo>
                      <a:pt x="3738" y="43377"/>
                    </a:lnTo>
                    <a:cubicBezTo>
                      <a:pt x="6304" y="45351"/>
                      <a:pt x="9187" y="46861"/>
                      <a:pt x="12262" y="47863"/>
                    </a:cubicBezTo>
                    <a:cubicBezTo>
                      <a:pt x="15522" y="49045"/>
                      <a:pt x="18962" y="49658"/>
                      <a:pt x="22430" y="49658"/>
                    </a:cubicBezTo>
                    <a:cubicBezTo>
                      <a:pt x="25703" y="49852"/>
                      <a:pt x="28966" y="49119"/>
                      <a:pt x="31851" y="47564"/>
                    </a:cubicBezTo>
                    <a:cubicBezTo>
                      <a:pt x="33799" y="46472"/>
                      <a:pt x="35003" y="44409"/>
                      <a:pt x="34991" y="42181"/>
                    </a:cubicBezTo>
                    <a:cubicBezTo>
                      <a:pt x="34994" y="40685"/>
                      <a:pt x="34338" y="39265"/>
                      <a:pt x="33197" y="38293"/>
                    </a:cubicBezTo>
                    <a:cubicBezTo>
                      <a:pt x="31942" y="37156"/>
                      <a:pt x="30466" y="36289"/>
                      <a:pt x="28860" y="35751"/>
                    </a:cubicBezTo>
                    <a:lnTo>
                      <a:pt x="21533" y="33807"/>
                    </a:lnTo>
                    <a:cubicBezTo>
                      <a:pt x="17979" y="32984"/>
                      <a:pt x="14482" y="31938"/>
                      <a:pt x="11066" y="30667"/>
                    </a:cubicBezTo>
                    <a:cubicBezTo>
                      <a:pt x="8416" y="29665"/>
                      <a:pt x="6055" y="28020"/>
                      <a:pt x="4187" y="25882"/>
                    </a:cubicBezTo>
                    <a:cubicBezTo>
                      <a:pt x="2125" y="23355"/>
                      <a:pt x="1062" y="20169"/>
                      <a:pt x="1196" y="16910"/>
                    </a:cubicBezTo>
                    <a:cubicBezTo>
                      <a:pt x="1159" y="13874"/>
                      <a:pt x="2046" y="10898"/>
                      <a:pt x="3738" y="8386"/>
                    </a:cubicBezTo>
                    <a:cubicBezTo>
                      <a:pt x="5709" y="5665"/>
                      <a:pt x="8402" y="3541"/>
                      <a:pt x="11514" y="2255"/>
                    </a:cubicBezTo>
                    <a:cubicBezTo>
                      <a:pt x="15504" y="655"/>
                      <a:pt x="19779" y="-107"/>
                      <a:pt x="24075" y="12"/>
                    </a:cubicBezTo>
                    <a:cubicBezTo>
                      <a:pt x="27510" y="12"/>
                      <a:pt x="30928" y="461"/>
                      <a:pt x="34243" y="1358"/>
                    </a:cubicBezTo>
                    <a:cubicBezTo>
                      <a:pt x="37331" y="2091"/>
                      <a:pt x="40267" y="3347"/>
                      <a:pt x="42916" y="5096"/>
                    </a:cubicBezTo>
                    <a:lnTo>
                      <a:pt x="39627" y="13171"/>
                    </a:lnTo>
                    <a:cubicBezTo>
                      <a:pt x="37174" y="11766"/>
                      <a:pt x="34563" y="10674"/>
                      <a:pt x="31851" y="9881"/>
                    </a:cubicBezTo>
                    <a:cubicBezTo>
                      <a:pt x="29319" y="9179"/>
                      <a:pt x="26702" y="8820"/>
                      <a:pt x="24075" y="8835"/>
                    </a:cubicBezTo>
                    <a:cubicBezTo>
                      <a:pt x="20839" y="8506"/>
                      <a:pt x="17584" y="9238"/>
                      <a:pt x="14804" y="10928"/>
                    </a:cubicBezTo>
                    <a:cubicBezTo>
                      <a:pt x="12854" y="12095"/>
                      <a:pt x="11661" y="14188"/>
                      <a:pt x="11664" y="16461"/>
                    </a:cubicBezTo>
                    <a:cubicBezTo>
                      <a:pt x="11616" y="18016"/>
                      <a:pt x="12275" y="19496"/>
                      <a:pt x="13458" y="20498"/>
                    </a:cubicBezTo>
                    <a:cubicBezTo>
                      <a:pt x="14743" y="21560"/>
                      <a:pt x="16214" y="22368"/>
                      <a:pt x="17795" y="22891"/>
                    </a:cubicBezTo>
                    <a:lnTo>
                      <a:pt x="25122" y="24835"/>
                    </a:lnTo>
                    <a:cubicBezTo>
                      <a:pt x="28670" y="25672"/>
                      <a:pt x="32165" y="26719"/>
                      <a:pt x="35589" y="27975"/>
                    </a:cubicBezTo>
                    <a:cubicBezTo>
                      <a:pt x="38219" y="29022"/>
                      <a:pt x="40573" y="30652"/>
                      <a:pt x="42468" y="32760"/>
                    </a:cubicBezTo>
                    <a:cubicBezTo>
                      <a:pt x="44491" y="35242"/>
                      <a:pt x="45506" y="38383"/>
                      <a:pt x="45309" y="41583"/>
                    </a:cubicBezTo>
                    <a:cubicBezTo>
                      <a:pt x="45346" y="44618"/>
                      <a:pt x="44460" y="47594"/>
                      <a:pt x="42767" y="50106"/>
                    </a:cubicBezTo>
                    <a:cubicBezTo>
                      <a:pt x="40817" y="52813"/>
                      <a:pt x="38113" y="54891"/>
                      <a:pt x="34991" y="56088"/>
                    </a:cubicBezTo>
                    <a:cubicBezTo>
                      <a:pt x="31001" y="57688"/>
                      <a:pt x="26726" y="58450"/>
                      <a:pt x="22430" y="58331"/>
                    </a:cubicBezTo>
                    <a:cubicBezTo>
                      <a:pt x="18130" y="58345"/>
                      <a:pt x="13848" y="57747"/>
                      <a:pt x="9720" y="5653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CD54A688-D9A5-4262-A954-98C570C1F4B6}"/>
                  </a:ext>
                </a:extLst>
              </p:cNvPr>
              <p:cNvSpPr/>
              <p:nvPr/>
            </p:nvSpPr>
            <p:spPr>
              <a:xfrm>
                <a:off x="3461628" y="3402218"/>
                <a:ext cx="45333" cy="58342"/>
              </a:xfrm>
              <a:custGeom>
                <a:avLst/>
                <a:gdLst>
                  <a:gd name="connsiteX0" fmla="*/ 9720 w 45333"/>
                  <a:gd name="connsiteY0" fmla="*/ 56536 h 58342"/>
                  <a:gd name="connsiteX1" fmla="*/ 0 w 45333"/>
                  <a:gd name="connsiteY1" fmla="*/ 51602 h 58342"/>
                  <a:gd name="connsiteX2" fmla="*/ 3738 w 45333"/>
                  <a:gd name="connsiteY2" fmla="*/ 43377 h 58342"/>
                  <a:gd name="connsiteX3" fmla="*/ 12262 w 45333"/>
                  <a:gd name="connsiteY3" fmla="*/ 47863 h 58342"/>
                  <a:gd name="connsiteX4" fmla="*/ 22430 w 45333"/>
                  <a:gd name="connsiteY4" fmla="*/ 49658 h 58342"/>
                  <a:gd name="connsiteX5" fmla="*/ 31851 w 45333"/>
                  <a:gd name="connsiteY5" fmla="*/ 47564 h 58342"/>
                  <a:gd name="connsiteX6" fmla="*/ 34991 w 45333"/>
                  <a:gd name="connsiteY6" fmla="*/ 42181 h 58342"/>
                  <a:gd name="connsiteX7" fmla="*/ 33197 w 45333"/>
                  <a:gd name="connsiteY7" fmla="*/ 38293 h 58342"/>
                  <a:gd name="connsiteX8" fmla="*/ 28860 w 45333"/>
                  <a:gd name="connsiteY8" fmla="*/ 35751 h 58342"/>
                  <a:gd name="connsiteX9" fmla="*/ 21533 w 45333"/>
                  <a:gd name="connsiteY9" fmla="*/ 33807 h 58342"/>
                  <a:gd name="connsiteX10" fmla="*/ 11065 w 45333"/>
                  <a:gd name="connsiteY10" fmla="*/ 30667 h 58342"/>
                  <a:gd name="connsiteX11" fmla="*/ 4187 w 45333"/>
                  <a:gd name="connsiteY11" fmla="*/ 25882 h 58342"/>
                  <a:gd name="connsiteX12" fmla="*/ 1196 w 45333"/>
                  <a:gd name="connsiteY12" fmla="*/ 16910 h 58342"/>
                  <a:gd name="connsiteX13" fmla="*/ 3738 w 45333"/>
                  <a:gd name="connsiteY13" fmla="*/ 8386 h 58342"/>
                  <a:gd name="connsiteX14" fmla="*/ 11514 w 45333"/>
                  <a:gd name="connsiteY14" fmla="*/ 2255 h 58342"/>
                  <a:gd name="connsiteX15" fmla="*/ 24075 w 45333"/>
                  <a:gd name="connsiteY15" fmla="*/ 12 h 58342"/>
                  <a:gd name="connsiteX16" fmla="*/ 34243 w 45333"/>
                  <a:gd name="connsiteY16" fmla="*/ 1358 h 58342"/>
                  <a:gd name="connsiteX17" fmla="*/ 42916 w 45333"/>
                  <a:gd name="connsiteY17" fmla="*/ 5096 h 58342"/>
                  <a:gd name="connsiteX18" fmla="*/ 39627 w 45333"/>
                  <a:gd name="connsiteY18" fmla="*/ 13171 h 58342"/>
                  <a:gd name="connsiteX19" fmla="*/ 31851 w 45333"/>
                  <a:gd name="connsiteY19" fmla="*/ 9881 h 58342"/>
                  <a:gd name="connsiteX20" fmla="*/ 24075 w 45333"/>
                  <a:gd name="connsiteY20" fmla="*/ 8835 h 58342"/>
                  <a:gd name="connsiteX21" fmla="*/ 14804 w 45333"/>
                  <a:gd name="connsiteY21" fmla="*/ 10928 h 58342"/>
                  <a:gd name="connsiteX22" fmla="*/ 11664 w 45333"/>
                  <a:gd name="connsiteY22" fmla="*/ 16461 h 58342"/>
                  <a:gd name="connsiteX23" fmla="*/ 13458 w 45333"/>
                  <a:gd name="connsiteY23" fmla="*/ 20498 h 58342"/>
                  <a:gd name="connsiteX24" fmla="*/ 17795 w 45333"/>
                  <a:gd name="connsiteY24" fmla="*/ 22891 h 58342"/>
                  <a:gd name="connsiteX25" fmla="*/ 25122 w 45333"/>
                  <a:gd name="connsiteY25" fmla="*/ 24835 h 58342"/>
                  <a:gd name="connsiteX26" fmla="*/ 35589 w 45333"/>
                  <a:gd name="connsiteY26" fmla="*/ 27975 h 58342"/>
                  <a:gd name="connsiteX27" fmla="*/ 42468 w 45333"/>
                  <a:gd name="connsiteY27" fmla="*/ 32760 h 58342"/>
                  <a:gd name="connsiteX28" fmla="*/ 45309 w 45333"/>
                  <a:gd name="connsiteY28" fmla="*/ 41583 h 58342"/>
                  <a:gd name="connsiteX29" fmla="*/ 42767 w 45333"/>
                  <a:gd name="connsiteY29" fmla="*/ 50106 h 58342"/>
                  <a:gd name="connsiteX30" fmla="*/ 34991 w 45333"/>
                  <a:gd name="connsiteY30" fmla="*/ 56088 h 58342"/>
                  <a:gd name="connsiteX31" fmla="*/ 22430 w 45333"/>
                  <a:gd name="connsiteY31" fmla="*/ 58331 h 58342"/>
                  <a:gd name="connsiteX32" fmla="*/ 9720 w 45333"/>
                  <a:gd name="connsiteY32" fmla="*/ 56536 h 5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3" h="58342">
                    <a:moveTo>
                      <a:pt x="9720" y="56536"/>
                    </a:moveTo>
                    <a:cubicBezTo>
                      <a:pt x="6167" y="55594"/>
                      <a:pt x="2853" y="53919"/>
                      <a:pt x="0" y="51602"/>
                    </a:cubicBezTo>
                    <a:lnTo>
                      <a:pt x="3738" y="43377"/>
                    </a:lnTo>
                    <a:cubicBezTo>
                      <a:pt x="6304" y="45351"/>
                      <a:pt x="9187" y="46861"/>
                      <a:pt x="12262" y="47863"/>
                    </a:cubicBezTo>
                    <a:cubicBezTo>
                      <a:pt x="15522" y="49045"/>
                      <a:pt x="18962" y="49658"/>
                      <a:pt x="22430" y="49658"/>
                    </a:cubicBezTo>
                    <a:cubicBezTo>
                      <a:pt x="25703" y="49852"/>
                      <a:pt x="28966" y="49119"/>
                      <a:pt x="31851" y="47564"/>
                    </a:cubicBezTo>
                    <a:cubicBezTo>
                      <a:pt x="33799" y="46472"/>
                      <a:pt x="35003" y="44409"/>
                      <a:pt x="34991" y="42181"/>
                    </a:cubicBezTo>
                    <a:cubicBezTo>
                      <a:pt x="34994" y="40685"/>
                      <a:pt x="34338" y="39265"/>
                      <a:pt x="33197" y="38293"/>
                    </a:cubicBezTo>
                    <a:cubicBezTo>
                      <a:pt x="31942" y="37156"/>
                      <a:pt x="30466" y="36289"/>
                      <a:pt x="28860" y="35751"/>
                    </a:cubicBezTo>
                    <a:lnTo>
                      <a:pt x="21533" y="33807"/>
                    </a:lnTo>
                    <a:cubicBezTo>
                      <a:pt x="17978" y="32984"/>
                      <a:pt x="14482" y="31938"/>
                      <a:pt x="11065" y="30667"/>
                    </a:cubicBezTo>
                    <a:cubicBezTo>
                      <a:pt x="8416" y="29665"/>
                      <a:pt x="6055" y="28020"/>
                      <a:pt x="4187" y="25882"/>
                    </a:cubicBezTo>
                    <a:cubicBezTo>
                      <a:pt x="2125" y="23355"/>
                      <a:pt x="1062" y="20169"/>
                      <a:pt x="1196" y="16910"/>
                    </a:cubicBezTo>
                    <a:cubicBezTo>
                      <a:pt x="1159" y="13874"/>
                      <a:pt x="2046" y="10898"/>
                      <a:pt x="3738" y="8386"/>
                    </a:cubicBezTo>
                    <a:cubicBezTo>
                      <a:pt x="5709" y="5665"/>
                      <a:pt x="8402" y="3541"/>
                      <a:pt x="11514" y="2255"/>
                    </a:cubicBezTo>
                    <a:cubicBezTo>
                      <a:pt x="15504" y="655"/>
                      <a:pt x="19779" y="-107"/>
                      <a:pt x="24075" y="12"/>
                    </a:cubicBezTo>
                    <a:cubicBezTo>
                      <a:pt x="27510" y="12"/>
                      <a:pt x="30928" y="461"/>
                      <a:pt x="34243" y="1358"/>
                    </a:cubicBezTo>
                    <a:cubicBezTo>
                      <a:pt x="37331" y="2091"/>
                      <a:pt x="40267" y="3347"/>
                      <a:pt x="42916" y="5096"/>
                    </a:cubicBezTo>
                    <a:lnTo>
                      <a:pt x="39627" y="13171"/>
                    </a:lnTo>
                    <a:cubicBezTo>
                      <a:pt x="37174" y="11766"/>
                      <a:pt x="34563" y="10674"/>
                      <a:pt x="31851" y="9881"/>
                    </a:cubicBezTo>
                    <a:cubicBezTo>
                      <a:pt x="29319" y="9179"/>
                      <a:pt x="26702" y="8820"/>
                      <a:pt x="24075" y="8835"/>
                    </a:cubicBezTo>
                    <a:cubicBezTo>
                      <a:pt x="20839" y="8506"/>
                      <a:pt x="17584" y="9238"/>
                      <a:pt x="14804" y="10928"/>
                    </a:cubicBezTo>
                    <a:cubicBezTo>
                      <a:pt x="12854" y="12095"/>
                      <a:pt x="11661" y="14188"/>
                      <a:pt x="11664" y="16461"/>
                    </a:cubicBezTo>
                    <a:cubicBezTo>
                      <a:pt x="11616" y="18016"/>
                      <a:pt x="12275" y="19496"/>
                      <a:pt x="13458" y="20498"/>
                    </a:cubicBezTo>
                    <a:cubicBezTo>
                      <a:pt x="14743" y="21560"/>
                      <a:pt x="16214" y="22368"/>
                      <a:pt x="17795" y="22891"/>
                    </a:cubicBezTo>
                    <a:lnTo>
                      <a:pt x="25122" y="24835"/>
                    </a:lnTo>
                    <a:cubicBezTo>
                      <a:pt x="28670" y="25672"/>
                      <a:pt x="32165" y="26719"/>
                      <a:pt x="35589" y="27975"/>
                    </a:cubicBezTo>
                    <a:cubicBezTo>
                      <a:pt x="38219" y="29022"/>
                      <a:pt x="40573" y="30652"/>
                      <a:pt x="42468" y="32760"/>
                    </a:cubicBezTo>
                    <a:cubicBezTo>
                      <a:pt x="44491" y="35242"/>
                      <a:pt x="45506" y="38383"/>
                      <a:pt x="45309" y="41583"/>
                    </a:cubicBezTo>
                    <a:cubicBezTo>
                      <a:pt x="45346" y="44618"/>
                      <a:pt x="44459" y="47594"/>
                      <a:pt x="42767" y="50106"/>
                    </a:cubicBezTo>
                    <a:cubicBezTo>
                      <a:pt x="40817" y="52813"/>
                      <a:pt x="38113" y="54891"/>
                      <a:pt x="34991" y="56088"/>
                    </a:cubicBezTo>
                    <a:cubicBezTo>
                      <a:pt x="31001" y="57688"/>
                      <a:pt x="26726" y="58450"/>
                      <a:pt x="22430" y="58331"/>
                    </a:cubicBezTo>
                    <a:cubicBezTo>
                      <a:pt x="18129" y="58345"/>
                      <a:pt x="13848" y="57747"/>
                      <a:pt x="9720" y="5653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748876B3-AC74-4C10-D112-AC95D6D4348C}"/>
                  </a:ext>
                </a:extLst>
              </p:cNvPr>
              <p:cNvSpPr/>
              <p:nvPr/>
            </p:nvSpPr>
            <p:spPr>
              <a:xfrm>
                <a:off x="3536245" y="3403127"/>
                <a:ext cx="61608" cy="56673"/>
              </a:xfrm>
              <a:custGeom>
                <a:avLst/>
                <a:gdLst>
                  <a:gd name="connsiteX0" fmla="*/ 44860 w 61608"/>
                  <a:gd name="connsiteY0" fmla="*/ 43514 h 56673"/>
                  <a:gd name="connsiteX1" fmla="*/ 16598 w 61608"/>
                  <a:gd name="connsiteY1" fmla="*/ 43514 h 56673"/>
                  <a:gd name="connsiteX2" fmla="*/ 10916 w 61608"/>
                  <a:gd name="connsiteY2" fmla="*/ 56673 h 56673"/>
                  <a:gd name="connsiteX3" fmla="*/ 0 w 61608"/>
                  <a:gd name="connsiteY3" fmla="*/ 56673 h 56673"/>
                  <a:gd name="connsiteX4" fmla="*/ 25570 w 61608"/>
                  <a:gd name="connsiteY4" fmla="*/ 0 h 56673"/>
                  <a:gd name="connsiteX5" fmla="*/ 36038 w 61608"/>
                  <a:gd name="connsiteY5" fmla="*/ 0 h 56673"/>
                  <a:gd name="connsiteX6" fmla="*/ 61608 w 61608"/>
                  <a:gd name="connsiteY6" fmla="*/ 56673 h 56673"/>
                  <a:gd name="connsiteX7" fmla="*/ 50543 w 61608"/>
                  <a:gd name="connsiteY7" fmla="*/ 56673 h 56673"/>
                  <a:gd name="connsiteX8" fmla="*/ 41421 w 61608"/>
                  <a:gd name="connsiteY8" fmla="*/ 35290 h 56673"/>
                  <a:gd name="connsiteX9" fmla="*/ 30654 w 61608"/>
                  <a:gd name="connsiteY9" fmla="*/ 10467 h 56673"/>
                  <a:gd name="connsiteX10" fmla="*/ 20038 w 61608"/>
                  <a:gd name="connsiteY10" fmla="*/ 3529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08" h="56673">
                    <a:moveTo>
                      <a:pt x="44860" y="43514"/>
                    </a:moveTo>
                    <a:lnTo>
                      <a:pt x="16598" y="43514"/>
                    </a:lnTo>
                    <a:lnTo>
                      <a:pt x="10916" y="56673"/>
                    </a:lnTo>
                    <a:lnTo>
                      <a:pt x="0" y="56673"/>
                    </a:lnTo>
                    <a:lnTo>
                      <a:pt x="25570" y="0"/>
                    </a:lnTo>
                    <a:lnTo>
                      <a:pt x="36038" y="0"/>
                    </a:lnTo>
                    <a:lnTo>
                      <a:pt x="61608" y="56673"/>
                    </a:lnTo>
                    <a:lnTo>
                      <a:pt x="50543" y="56673"/>
                    </a:lnTo>
                    <a:close/>
                    <a:moveTo>
                      <a:pt x="41421" y="35290"/>
                    </a:moveTo>
                    <a:lnTo>
                      <a:pt x="30654" y="1046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B615DB7B-F6BA-DFFF-B093-F0662464D032}"/>
                  </a:ext>
                </a:extLst>
              </p:cNvPr>
              <p:cNvSpPr/>
              <p:nvPr/>
            </p:nvSpPr>
            <p:spPr>
              <a:xfrm>
                <a:off x="3631947" y="3403127"/>
                <a:ext cx="48000" cy="56823"/>
              </a:xfrm>
              <a:custGeom>
                <a:avLst/>
                <a:gdLst>
                  <a:gd name="connsiteX0" fmla="*/ 37084 w 48000"/>
                  <a:gd name="connsiteY0" fmla="*/ 56674 h 56823"/>
                  <a:gd name="connsiteX1" fmla="*/ 25570 w 48000"/>
                  <a:gd name="connsiteY1" fmla="*/ 40075 h 56823"/>
                  <a:gd name="connsiteX2" fmla="*/ 10617 w 48000"/>
                  <a:gd name="connsiteY2" fmla="*/ 40075 h 56823"/>
                  <a:gd name="connsiteX3" fmla="*/ 10617 w 48000"/>
                  <a:gd name="connsiteY3" fmla="*/ 56674 h 56823"/>
                  <a:gd name="connsiteX4" fmla="*/ 0 w 48000"/>
                  <a:gd name="connsiteY4" fmla="*/ 56674 h 56823"/>
                  <a:gd name="connsiteX5" fmla="*/ 0 w 48000"/>
                  <a:gd name="connsiteY5" fmla="*/ 0 h 56823"/>
                  <a:gd name="connsiteX6" fmla="*/ 23327 w 48000"/>
                  <a:gd name="connsiteY6" fmla="*/ 0 h 56823"/>
                  <a:gd name="connsiteX7" fmla="*/ 35739 w 48000"/>
                  <a:gd name="connsiteY7" fmla="*/ 2542 h 56823"/>
                  <a:gd name="connsiteX8" fmla="*/ 44113 w 48000"/>
                  <a:gd name="connsiteY8" fmla="*/ 9421 h 56823"/>
                  <a:gd name="connsiteX9" fmla="*/ 47103 w 48000"/>
                  <a:gd name="connsiteY9" fmla="*/ 20337 h 56823"/>
                  <a:gd name="connsiteX10" fmla="*/ 43963 w 48000"/>
                  <a:gd name="connsiteY10" fmla="*/ 31253 h 56823"/>
                  <a:gd name="connsiteX11" fmla="*/ 34991 w 48000"/>
                  <a:gd name="connsiteY11" fmla="*/ 38131 h 56823"/>
                  <a:gd name="connsiteX12" fmla="*/ 48000 w 48000"/>
                  <a:gd name="connsiteY12" fmla="*/ 56823 h 56823"/>
                  <a:gd name="connsiteX13" fmla="*/ 33346 w 48000"/>
                  <a:gd name="connsiteY13" fmla="*/ 11813 h 56823"/>
                  <a:gd name="connsiteX14" fmla="*/ 22879 w 48000"/>
                  <a:gd name="connsiteY14" fmla="*/ 8823 h 56823"/>
                  <a:gd name="connsiteX15" fmla="*/ 10617 w 48000"/>
                  <a:gd name="connsiteY15" fmla="*/ 8823 h 56823"/>
                  <a:gd name="connsiteX16" fmla="*/ 10617 w 48000"/>
                  <a:gd name="connsiteY16" fmla="*/ 31402 h 56823"/>
                  <a:gd name="connsiteX17" fmla="*/ 22879 w 48000"/>
                  <a:gd name="connsiteY17" fmla="*/ 31402 h 56823"/>
                  <a:gd name="connsiteX18" fmla="*/ 33346 w 48000"/>
                  <a:gd name="connsiteY18" fmla="*/ 28561 h 56823"/>
                  <a:gd name="connsiteX19" fmla="*/ 36935 w 48000"/>
                  <a:gd name="connsiteY19" fmla="*/ 20187 h 56823"/>
                  <a:gd name="connsiteX20" fmla="*/ 33346 w 48000"/>
                  <a:gd name="connsiteY20" fmla="*/ 1181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8000" h="56823">
                    <a:moveTo>
                      <a:pt x="37084" y="56674"/>
                    </a:moveTo>
                    <a:lnTo>
                      <a:pt x="25570" y="40075"/>
                    </a:lnTo>
                    <a:lnTo>
                      <a:pt x="10617" y="40075"/>
                    </a:lnTo>
                    <a:lnTo>
                      <a:pt x="10617" y="56674"/>
                    </a:lnTo>
                    <a:lnTo>
                      <a:pt x="0" y="56674"/>
                    </a:lnTo>
                    <a:lnTo>
                      <a:pt x="0" y="0"/>
                    </a:lnTo>
                    <a:lnTo>
                      <a:pt x="23327" y="0"/>
                    </a:lnTo>
                    <a:cubicBezTo>
                      <a:pt x="27597" y="-15"/>
                      <a:pt x="31822" y="838"/>
                      <a:pt x="35739" y="2542"/>
                    </a:cubicBezTo>
                    <a:cubicBezTo>
                      <a:pt x="39157" y="3948"/>
                      <a:pt x="42076" y="6340"/>
                      <a:pt x="44113" y="9421"/>
                    </a:cubicBezTo>
                    <a:cubicBezTo>
                      <a:pt x="46130" y="12696"/>
                      <a:pt x="47168" y="16494"/>
                      <a:pt x="47103" y="20337"/>
                    </a:cubicBezTo>
                    <a:cubicBezTo>
                      <a:pt x="47205" y="24210"/>
                      <a:pt x="46107" y="28023"/>
                      <a:pt x="43963" y="31253"/>
                    </a:cubicBezTo>
                    <a:cubicBezTo>
                      <a:pt x="41775" y="34438"/>
                      <a:pt x="38635" y="36845"/>
                      <a:pt x="34991" y="38131"/>
                    </a:cubicBezTo>
                    <a:lnTo>
                      <a:pt x="48000" y="56823"/>
                    </a:lnTo>
                    <a:close/>
                    <a:moveTo>
                      <a:pt x="33346" y="11813"/>
                    </a:moveTo>
                    <a:cubicBezTo>
                      <a:pt x="30308" y="9630"/>
                      <a:pt x="26610" y="8583"/>
                      <a:pt x="22879" y="8823"/>
                    </a:cubicBezTo>
                    <a:lnTo>
                      <a:pt x="10617" y="8823"/>
                    </a:lnTo>
                    <a:lnTo>
                      <a:pt x="10617" y="31402"/>
                    </a:lnTo>
                    <a:lnTo>
                      <a:pt x="22879" y="31402"/>
                    </a:lnTo>
                    <a:cubicBezTo>
                      <a:pt x="26592" y="31686"/>
                      <a:pt x="30288" y="30685"/>
                      <a:pt x="33346" y="28561"/>
                    </a:cubicBezTo>
                    <a:cubicBezTo>
                      <a:pt x="35758" y="26468"/>
                      <a:pt x="37080" y="23387"/>
                      <a:pt x="36935" y="20187"/>
                    </a:cubicBezTo>
                    <a:cubicBezTo>
                      <a:pt x="37150" y="16987"/>
                      <a:pt x="35816" y="13862"/>
                      <a:pt x="33346" y="11813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AE2757C5-4BE2-80AD-970B-B496F7113F9F}"/>
                  </a:ext>
                </a:extLst>
              </p:cNvPr>
              <p:cNvSpPr/>
              <p:nvPr/>
            </p:nvSpPr>
            <p:spPr>
              <a:xfrm>
                <a:off x="3718079" y="3402978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04B6D54D-917B-E76D-F283-B294FA18D164}"/>
                  </a:ext>
                </a:extLst>
              </p:cNvPr>
              <p:cNvSpPr/>
              <p:nvPr/>
            </p:nvSpPr>
            <p:spPr>
              <a:xfrm>
                <a:off x="3762939" y="3403127"/>
                <a:ext cx="61458" cy="56673"/>
              </a:xfrm>
              <a:custGeom>
                <a:avLst/>
                <a:gdLst>
                  <a:gd name="connsiteX0" fmla="*/ 44711 w 61458"/>
                  <a:gd name="connsiteY0" fmla="*/ 43514 h 56673"/>
                  <a:gd name="connsiteX1" fmla="*/ 16449 w 61458"/>
                  <a:gd name="connsiteY1" fmla="*/ 43514 h 56673"/>
                  <a:gd name="connsiteX2" fmla="*/ 10766 w 61458"/>
                  <a:gd name="connsiteY2" fmla="*/ 56673 h 56673"/>
                  <a:gd name="connsiteX3" fmla="*/ 0 w 61458"/>
                  <a:gd name="connsiteY3" fmla="*/ 56673 h 56673"/>
                  <a:gd name="connsiteX4" fmla="*/ 25421 w 61458"/>
                  <a:gd name="connsiteY4" fmla="*/ 0 h 56673"/>
                  <a:gd name="connsiteX5" fmla="*/ 35888 w 61458"/>
                  <a:gd name="connsiteY5" fmla="*/ 0 h 56673"/>
                  <a:gd name="connsiteX6" fmla="*/ 61459 w 61458"/>
                  <a:gd name="connsiteY6" fmla="*/ 56673 h 56673"/>
                  <a:gd name="connsiteX7" fmla="*/ 50393 w 61458"/>
                  <a:gd name="connsiteY7" fmla="*/ 56673 h 56673"/>
                  <a:gd name="connsiteX8" fmla="*/ 41271 w 61458"/>
                  <a:gd name="connsiteY8" fmla="*/ 35290 h 56673"/>
                  <a:gd name="connsiteX9" fmla="*/ 30654 w 61458"/>
                  <a:gd name="connsiteY9" fmla="*/ 10467 h 56673"/>
                  <a:gd name="connsiteX10" fmla="*/ 20038 w 61458"/>
                  <a:gd name="connsiteY10" fmla="*/ 3529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458" h="56673">
                    <a:moveTo>
                      <a:pt x="44711" y="43514"/>
                    </a:moveTo>
                    <a:lnTo>
                      <a:pt x="16449" y="43514"/>
                    </a:lnTo>
                    <a:lnTo>
                      <a:pt x="10766" y="56673"/>
                    </a:lnTo>
                    <a:lnTo>
                      <a:pt x="0" y="56673"/>
                    </a:lnTo>
                    <a:lnTo>
                      <a:pt x="25421" y="0"/>
                    </a:lnTo>
                    <a:lnTo>
                      <a:pt x="35888" y="0"/>
                    </a:lnTo>
                    <a:lnTo>
                      <a:pt x="61459" y="56673"/>
                    </a:lnTo>
                    <a:lnTo>
                      <a:pt x="50393" y="56673"/>
                    </a:lnTo>
                    <a:close/>
                    <a:moveTo>
                      <a:pt x="41271" y="35290"/>
                    </a:moveTo>
                    <a:lnTo>
                      <a:pt x="30654" y="1046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FBB7E065-CDFE-90AD-BD3E-1A609EF04D82}"/>
                  </a:ext>
                </a:extLst>
              </p:cNvPr>
              <p:cNvSpPr/>
              <p:nvPr/>
            </p:nvSpPr>
            <p:spPr>
              <a:xfrm>
                <a:off x="3848473" y="3403127"/>
                <a:ext cx="48150" cy="56673"/>
              </a:xfrm>
              <a:custGeom>
                <a:avLst/>
                <a:gdLst>
                  <a:gd name="connsiteX0" fmla="*/ 18692 w 48150"/>
                  <a:gd name="connsiteY0" fmla="*/ 8822 h 56673"/>
                  <a:gd name="connsiteX1" fmla="*/ 0 w 48150"/>
                  <a:gd name="connsiteY1" fmla="*/ 8822 h 56673"/>
                  <a:gd name="connsiteX2" fmla="*/ 0 w 48150"/>
                  <a:gd name="connsiteY2" fmla="*/ 0 h 56673"/>
                  <a:gd name="connsiteX3" fmla="*/ 48150 w 48150"/>
                  <a:gd name="connsiteY3" fmla="*/ 0 h 56673"/>
                  <a:gd name="connsiteX4" fmla="*/ 48150 w 48150"/>
                  <a:gd name="connsiteY4" fmla="*/ 8822 h 56673"/>
                  <a:gd name="connsiteX5" fmla="*/ 29309 w 48150"/>
                  <a:gd name="connsiteY5" fmla="*/ 8822 h 56673"/>
                  <a:gd name="connsiteX6" fmla="*/ 29309 w 48150"/>
                  <a:gd name="connsiteY6" fmla="*/ 56673 h 56673"/>
                  <a:gd name="connsiteX7" fmla="*/ 18692 w 48150"/>
                  <a:gd name="connsiteY7" fmla="*/ 56673 h 56673"/>
                  <a:gd name="connsiteX8" fmla="*/ 18692 w 48150"/>
                  <a:gd name="connsiteY8" fmla="*/ 8822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673">
                    <a:moveTo>
                      <a:pt x="18692" y="8822"/>
                    </a:moveTo>
                    <a:lnTo>
                      <a:pt x="0" y="882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822"/>
                    </a:lnTo>
                    <a:lnTo>
                      <a:pt x="29309" y="8822"/>
                    </a:lnTo>
                    <a:lnTo>
                      <a:pt x="29309" y="56673"/>
                    </a:lnTo>
                    <a:lnTo>
                      <a:pt x="18692" y="56673"/>
                    </a:lnTo>
                    <a:lnTo>
                      <a:pt x="18692" y="882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C7100292-C364-E4D9-5F20-DD5E6B0645E5}"/>
                  </a:ext>
                </a:extLst>
              </p:cNvPr>
              <p:cNvSpPr/>
              <p:nvPr/>
            </p:nvSpPr>
            <p:spPr>
              <a:xfrm>
                <a:off x="3971091" y="3403127"/>
                <a:ext cx="61608" cy="56673"/>
              </a:xfrm>
              <a:custGeom>
                <a:avLst/>
                <a:gdLst>
                  <a:gd name="connsiteX0" fmla="*/ 44860 w 61608"/>
                  <a:gd name="connsiteY0" fmla="*/ 43514 h 56673"/>
                  <a:gd name="connsiteX1" fmla="*/ 16449 w 61608"/>
                  <a:gd name="connsiteY1" fmla="*/ 43514 h 56673"/>
                  <a:gd name="connsiteX2" fmla="*/ 10916 w 61608"/>
                  <a:gd name="connsiteY2" fmla="*/ 56673 h 56673"/>
                  <a:gd name="connsiteX3" fmla="*/ 0 w 61608"/>
                  <a:gd name="connsiteY3" fmla="*/ 56673 h 56673"/>
                  <a:gd name="connsiteX4" fmla="*/ 25570 w 61608"/>
                  <a:gd name="connsiteY4" fmla="*/ 0 h 56673"/>
                  <a:gd name="connsiteX5" fmla="*/ 35888 w 61608"/>
                  <a:gd name="connsiteY5" fmla="*/ 0 h 56673"/>
                  <a:gd name="connsiteX6" fmla="*/ 61608 w 61608"/>
                  <a:gd name="connsiteY6" fmla="*/ 56673 h 56673"/>
                  <a:gd name="connsiteX7" fmla="*/ 50542 w 61608"/>
                  <a:gd name="connsiteY7" fmla="*/ 56673 h 56673"/>
                  <a:gd name="connsiteX8" fmla="*/ 41421 w 61608"/>
                  <a:gd name="connsiteY8" fmla="*/ 35290 h 56673"/>
                  <a:gd name="connsiteX9" fmla="*/ 30654 w 61608"/>
                  <a:gd name="connsiteY9" fmla="*/ 10467 h 56673"/>
                  <a:gd name="connsiteX10" fmla="*/ 20038 w 61608"/>
                  <a:gd name="connsiteY10" fmla="*/ 3529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08" h="56673">
                    <a:moveTo>
                      <a:pt x="44860" y="43514"/>
                    </a:moveTo>
                    <a:lnTo>
                      <a:pt x="16449" y="43514"/>
                    </a:lnTo>
                    <a:lnTo>
                      <a:pt x="10916" y="56673"/>
                    </a:lnTo>
                    <a:lnTo>
                      <a:pt x="0" y="56673"/>
                    </a:lnTo>
                    <a:lnTo>
                      <a:pt x="25570" y="0"/>
                    </a:lnTo>
                    <a:lnTo>
                      <a:pt x="35888" y="0"/>
                    </a:lnTo>
                    <a:lnTo>
                      <a:pt x="61608" y="56673"/>
                    </a:lnTo>
                    <a:lnTo>
                      <a:pt x="50542" y="56673"/>
                    </a:lnTo>
                    <a:close/>
                    <a:moveTo>
                      <a:pt x="41421" y="35290"/>
                    </a:moveTo>
                    <a:lnTo>
                      <a:pt x="30654" y="1046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9BB40204-3AB4-DD2F-9376-A058C362F7D8}"/>
                  </a:ext>
                </a:extLst>
              </p:cNvPr>
              <p:cNvSpPr/>
              <p:nvPr/>
            </p:nvSpPr>
            <p:spPr>
              <a:xfrm>
                <a:off x="4064794" y="3403127"/>
                <a:ext cx="51099" cy="57923"/>
              </a:xfrm>
              <a:custGeom>
                <a:avLst/>
                <a:gdLst>
                  <a:gd name="connsiteX0" fmla="*/ 6634 w 51099"/>
                  <a:gd name="connsiteY0" fmla="*/ 50842 h 57923"/>
                  <a:gd name="connsiteX1" fmla="*/ 54 w 51099"/>
                  <a:gd name="connsiteY1" fmla="*/ 32000 h 57923"/>
                  <a:gd name="connsiteX2" fmla="*/ 54 w 51099"/>
                  <a:gd name="connsiteY2" fmla="*/ 0 h 57923"/>
                  <a:gd name="connsiteX3" fmla="*/ 10671 w 51099"/>
                  <a:gd name="connsiteY3" fmla="*/ 0 h 57923"/>
                  <a:gd name="connsiteX4" fmla="*/ 10671 w 51099"/>
                  <a:gd name="connsiteY4" fmla="*/ 31552 h 57923"/>
                  <a:gd name="connsiteX5" fmla="*/ 25624 w 51099"/>
                  <a:gd name="connsiteY5" fmla="*/ 48299 h 57923"/>
                  <a:gd name="connsiteX6" fmla="*/ 40578 w 51099"/>
                  <a:gd name="connsiteY6" fmla="*/ 31552 h 57923"/>
                  <a:gd name="connsiteX7" fmla="*/ 40578 w 51099"/>
                  <a:gd name="connsiteY7" fmla="*/ 0 h 57923"/>
                  <a:gd name="connsiteX8" fmla="*/ 51045 w 51099"/>
                  <a:gd name="connsiteY8" fmla="*/ 0 h 57923"/>
                  <a:gd name="connsiteX9" fmla="*/ 51045 w 51099"/>
                  <a:gd name="connsiteY9" fmla="*/ 32449 h 57923"/>
                  <a:gd name="connsiteX10" fmla="*/ 44466 w 51099"/>
                  <a:gd name="connsiteY10" fmla="*/ 51290 h 57923"/>
                  <a:gd name="connsiteX11" fmla="*/ 26223 w 51099"/>
                  <a:gd name="connsiteY11" fmla="*/ 57870 h 57923"/>
                  <a:gd name="connsiteX12" fmla="*/ 7830 w 51099"/>
                  <a:gd name="connsiteY12" fmla="*/ 51290 h 57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1099" h="57923">
                    <a:moveTo>
                      <a:pt x="6634" y="50842"/>
                    </a:moveTo>
                    <a:cubicBezTo>
                      <a:pt x="1979" y="45713"/>
                      <a:pt x="-396" y="38909"/>
                      <a:pt x="54" y="32000"/>
                    </a:cubicBezTo>
                    <a:lnTo>
                      <a:pt x="54" y="0"/>
                    </a:lnTo>
                    <a:lnTo>
                      <a:pt x="10671" y="0"/>
                    </a:lnTo>
                    <a:lnTo>
                      <a:pt x="10671" y="31552"/>
                    </a:lnTo>
                    <a:cubicBezTo>
                      <a:pt x="10671" y="42617"/>
                      <a:pt x="15456" y="48299"/>
                      <a:pt x="25624" y="48299"/>
                    </a:cubicBezTo>
                    <a:cubicBezTo>
                      <a:pt x="35793" y="48299"/>
                      <a:pt x="40578" y="42617"/>
                      <a:pt x="40578" y="31552"/>
                    </a:cubicBezTo>
                    <a:lnTo>
                      <a:pt x="40578" y="0"/>
                    </a:lnTo>
                    <a:lnTo>
                      <a:pt x="51045" y="0"/>
                    </a:lnTo>
                    <a:lnTo>
                      <a:pt x="51045" y="32449"/>
                    </a:lnTo>
                    <a:cubicBezTo>
                      <a:pt x="51495" y="39357"/>
                      <a:pt x="49121" y="46161"/>
                      <a:pt x="44466" y="51290"/>
                    </a:cubicBezTo>
                    <a:cubicBezTo>
                      <a:pt x="39566" y="55926"/>
                      <a:pt x="32955" y="58318"/>
                      <a:pt x="26223" y="57870"/>
                    </a:cubicBezTo>
                    <a:cubicBezTo>
                      <a:pt x="19446" y="58318"/>
                      <a:pt x="12785" y="55941"/>
                      <a:pt x="7830" y="51290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6CDFE072-656E-17A8-6D31-C4182C5CACDD}"/>
                  </a:ext>
                </a:extLst>
              </p:cNvPr>
              <p:cNvSpPr/>
              <p:nvPr/>
            </p:nvSpPr>
            <p:spPr>
              <a:xfrm>
                <a:off x="4148737" y="3403127"/>
                <a:ext cx="54729" cy="56673"/>
              </a:xfrm>
              <a:custGeom>
                <a:avLst/>
                <a:gdLst>
                  <a:gd name="connsiteX0" fmla="*/ 42617 w 54729"/>
                  <a:gd name="connsiteY0" fmla="*/ 56673 h 56673"/>
                  <a:gd name="connsiteX1" fmla="*/ 27215 w 54729"/>
                  <a:gd name="connsiteY1" fmla="*/ 35141 h 56673"/>
                  <a:gd name="connsiteX2" fmla="*/ 11963 w 54729"/>
                  <a:gd name="connsiteY2" fmla="*/ 56673 h 56673"/>
                  <a:gd name="connsiteX3" fmla="*/ 0 w 54729"/>
                  <a:gd name="connsiteY3" fmla="*/ 56673 h 56673"/>
                  <a:gd name="connsiteX4" fmla="*/ 21084 w 54729"/>
                  <a:gd name="connsiteY4" fmla="*/ 27813 h 56673"/>
                  <a:gd name="connsiteX5" fmla="*/ 1196 w 54729"/>
                  <a:gd name="connsiteY5" fmla="*/ 0 h 56673"/>
                  <a:gd name="connsiteX6" fmla="*/ 13010 w 54729"/>
                  <a:gd name="connsiteY6" fmla="*/ 0 h 56673"/>
                  <a:gd name="connsiteX7" fmla="*/ 27514 w 54729"/>
                  <a:gd name="connsiteY7" fmla="*/ 20038 h 56673"/>
                  <a:gd name="connsiteX8" fmla="*/ 41870 w 54729"/>
                  <a:gd name="connsiteY8" fmla="*/ 0 h 56673"/>
                  <a:gd name="connsiteX9" fmla="*/ 53384 w 54729"/>
                  <a:gd name="connsiteY9" fmla="*/ 0 h 56673"/>
                  <a:gd name="connsiteX10" fmla="*/ 33496 w 54729"/>
                  <a:gd name="connsiteY10" fmla="*/ 27365 h 56673"/>
                  <a:gd name="connsiteX11" fmla="*/ 54730 w 54729"/>
                  <a:gd name="connsiteY11" fmla="*/ 56673 h 56673"/>
                  <a:gd name="connsiteX12" fmla="*/ 42617 w 54729"/>
                  <a:gd name="connsiteY12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729" h="56673">
                    <a:moveTo>
                      <a:pt x="42617" y="56673"/>
                    </a:moveTo>
                    <a:lnTo>
                      <a:pt x="27215" y="35141"/>
                    </a:lnTo>
                    <a:lnTo>
                      <a:pt x="11963" y="56673"/>
                    </a:lnTo>
                    <a:lnTo>
                      <a:pt x="0" y="56673"/>
                    </a:lnTo>
                    <a:lnTo>
                      <a:pt x="21084" y="27813"/>
                    </a:lnTo>
                    <a:lnTo>
                      <a:pt x="1196" y="0"/>
                    </a:lnTo>
                    <a:lnTo>
                      <a:pt x="13010" y="0"/>
                    </a:lnTo>
                    <a:lnTo>
                      <a:pt x="27514" y="20038"/>
                    </a:lnTo>
                    <a:lnTo>
                      <a:pt x="41870" y="0"/>
                    </a:lnTo>
                    <a:lnTo>
                      <a:pt x="53384" y="0"/>
                    </a:lnTo>
                    <a:lnTo>
                      <a:pt x="33496" y="27365"/>
                    </a:lnTo>
                    <a:lnTo>
                      <a:pt x="54730" y="56673"/>
                    </a:lnTo>
                    <a:lnTo>
                      <a:pt x="42617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89A7E04F-4F9A-E31B-4DD6-64521D9883B9}"/>
                  </a:ext>
                </a:extLst>
              </p:cNvPr>
              <p:cNvSpPr/>
              <p:nvPr/>
            </p:nvSpPr>
            <p:spPr>
              <a:xfrm>
                <a:off x="4276587" y="3402379"/>
                <a:ext cx="52338" cy="58314"/>
              </a:xfrm>
              <a:custGeom>
                <a:avLst/>
                <a:gdLst>
                  <a:gd name="connsiteX0" fmla="*/ 14806 w 52338"/>
                  <a:gd name="connsiteY0" fmla="*/ 54430 h 58314"/>
                  <a:gd name="connsiteX1" fmla="*/ 4039 w 52338"/>
                  <a:gd name="connsiteY1" fmla="*/ 44113 h 58314"/>
                  <a:gd name="connsiteX2" fmla="*/ 2 w 52338"/>
                  <a:gd name="connsiteY2" fmla="*/ 29159 h 58314"/>
                  <a:gd name="connsiteX3" fmla="*/ 14955 w 52338"/>
                  <a:gd name="connsiteY3" fmla="*/ 3738 h 58314"/>
                  <a:gd name="connsiteX4" fmla="*/ 29909 w 52338"/>
                  <a:gd name="connsiteY4" fmla="*/ 0 h 58314"/>
                  <a:gd name="connsiteX5" fmla="*/ 42619 w 52338"/>
                  <a:gd name="connsiteY5" fmla="*/ 2393 h 58314"/>
                  <a:gd name="connsiteX6" fmla="*/ 52339 w 52338"/>
                  <a:gd name="connsiteY6" fmla="*/ 9570 h 58314"/>
                  <a:gd name="connsiteX7" fmla="*/ 45460 w 52338"/>
                  <a:gd name="connsiteY7" fmla="*/ 15851 h 58314"/>
                  <a:gd name="connsiteX8" fmla="*/ 30507 w 52338"/>
                  <a:gd name="connsiteY8" fmla="*/ 9271 h 58314"/>
                  <a:gd name="connsiteX9" fmla="*/ 20039 w 52338"/>
                  <a:gd name="connsiteY9" fmla="*/ 11813 h 58314"/>
                  <a:gd name="connsiteX10" fmla="*/ 12862 w 52338"/>
                  <a:gd name="connsiteY10" fmla="*/ 18841 h 58314"/>
                  <a:gd name="connsiteX11" fmla="*/ 10170 w 52338"/>
                  <a:gd name="connsiteY11" fmla="*/ 29159 h 58314"/>
                  <a:gd name="connsiteX12" fmla="*/ 12862 w 52338"/>
                  <a:gd name="connsiteY12" fmla="*/ 39477 h 58314"/>
                  <a:gd name="connsiteX13" fmla="*/ 20039 w 52338"/>
                  <a:gd name="connsiteY13" fmla="*/ 46655 h 58314"/>
                  <a:gd name="connsiteX14" fmla="*/ 30507 w 52338"/>
                  <a:gd name="connsiteY14" fmla="*/ 49197 h 58314"/>
                  <a:gd name="connsiteX15" fmla="*/ 45460 w 52338"/>
                  <a:gd name="connsiteY15" fmla="*/ 42468 h 58314"/>
                  <a:gd name="connsiteX16" fmla="*/ 52339 w 52338"/>
                  <a:gd name="connsiteY16" fmla="*/ 48898 h 58314"/>
                  <a:gd name="connsiteX17" fmla="*/ 42469 w 52338"/>
                  <a:gd name="connsiteY17" fmla="*/ 55926 h 58314"/>
                  <a:gd name="connsiteX18" fmla="*/ 14208 w 52338"/>
                  <a:gd name="connsiteY18" fmla="*/ 54580 h 5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2338" h="58314">
                    <a:moveTo>
                      <a:pt x="14806" y="54430"/>
                    </a:moveTo>
                    <a:cubicBezTo>
                      <a:pt x="10335" y="52053"/>
                      <a:pt x="6611" y="48479"/>
                      <a:pt x="4039" y="44113"/>
                    </a:cubicBezTo>
                    <a:cubicBezTo>
                      <a:pt x="1363" y="39582"/>
                      <a:pt x="-43" y="34423"/>
                      <a:pt x="2" y="29159"/>
                    </a:cubicBezTo>
                    <a:cubicBezTo>
                      <a:pt x="-118" y="18572"/>
                      <a:pt x="5639" y="8778"/>
                      <a:pt x="14955" y="3738"/>
                    </a:cubicBezTo>
                    <a:cubicBezTo>
                      <a:pt x="19576" y="1331"/>
                      <a:pt x="24705" y="60"/>
                      <a:pt x="29909" y="0"/>
                    </a:cubicBezTo>
                    <a:cubicBezTo>
                      <a:pt x="34260" y="0"/>
                      <a:pt x="38567" y="807"/>
                      <a:pt x="42619" y="2393"/>
                    </a:cubicBezTo>
                    <a:cubicBezTo>
                      <a:pt x="46357" y="4023"/>
                      <a:pt x="49677" y="6475"/>
                      <a:pt x="52339" y="9570"/>
                    </a:cubicBezTo>
                    <a:lnTo>
                      <a:pt x="45460" y="15851"/>
                    </a:lnTo>
                    <a:cubicBezTo>
                      <a:pt x="41647" y="11619"/>
                      <a:pt x="36204" y="9226"/>
                      <a:pt x="30507" y="9271"/>
                    </a:cubicBezTo>
                    <a:cubicBezTo>
                      <a:pt x="26858" y="9226"/>
                      <a:pt x="23254" y="10094"/>
                      <a:pt x="20039" y="11813"/>
                    </a:cubicBezTo>
                    <a:cubicBezTo>
                      <a:pt x="17004" y="13383"/>
                      <a:pt x="14507" y="15836"/>
                      <a:pt x="12862" y="18841"/>
                    </a:cubicBezTo>
                    <a:cubicBezTo>
                      <a:pt x="11067" y="21982"/>
                      <a:pt x="10140" y="25540"/>
                      <a:pt x="10170" y="29159"/>
                    </a:cubicBezTo>
                    <a:cubicBezTo>
                      <a:pt x="10095" y="32778"/>
                      <a:pt x="11022" y="36352"/>
                      <a:pt x="12862" y="39477"/>
                    </a:cubicBezTo>
                    <a:cubicBezTo>
                      <a:pt x="14537" y="42498"/>
                      <a:pt x="17019" y="44980"/>
                      <a:pt x="20039" y="46655"/>
                    </a:cubicBezTo>
                    <a:cubicBezTo>
                      <a:pt x="23254" y="48374"/>
                      <a:pt x="26858" y="49242"/>
                      <a:pt x="30507" y="49197"/>
                    </a:cubicBezTo>
                    <a:cubicBezTo>
                      <a:pt x="36234" y="49242"/>
                      <a:pt x="41707" y="46789"/>
                      <a:pt x="45460" y="42468"/>
                    </a:cubicBezTo>
                    <a:lnTo>
                      <a:pt x="52339" y="48898"/>
                    </a:lnTo>
                    <a:cubicBezTo>
                      <a:pt x="49647" y="51978"/>
                      <a:pt x="46268" y="54386"/>
                      <a:pt x="42469" y="55926"/>
                    </a:cubicBezTo>
                    <a:cubicBezTo>
                      <a:pt x="33288" y="59530"/>
                      <a:pt x="23000" y="59036"/>
                      <a:pt x="14208" y="54580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84573A90-F73B-2F8B-A6FD-A9E4592A0FC6}"/>
                  </a:ext>
                </a:extLst>
              </p:cNvPr>
              <p:cNvSpPr/>
              <p:nvPr/>
            </p:nvSpPr>
            <p:spPr>
              <a:xfrm>
                <a:off x="4361138" y="3402234"/>
                <a:ext cx="61248" cy="58161"/>
              </a:xfrm>
              <a:custGeom>
                <a:avLst/>
                <a:gdLst>
                  <a:gd name="connsiteX0" fmla="*/ 15040 w 61248"/>
                  <a:gd name="connsiteY0" fmla="*/ 54576 h 58161"/>
                  <a:gd name="connsiteX1" fmla="*/ 3601 w 61248"/>
                  <a:gd name="connsiteY1" fmla="*/ 15174 h 58161"/>
                  <a:gd name="connsiteX2" fmla="*/ 15040 w 61248"/>
                  <a:gd name="connsiteY2" fmla="*/ 3735 h 58161"/>
                  <a:gd name="connsiteX3" fmla="*/ 46293 w 61248"/>
                  <a:gd name="connsiteY3" fmla="*/ 3735 h 58161"/>
                  <a:gd name="connsiteX4" fmla="*/ 57209 w 61248"/>
                  <a:gd name="connsiteY4" fmla="*/ 14202 h 58161"/>
                  <a:gd name="connsiteX5" fmla="*/ 61246 w 61248"/>
                  <a:gd name="connsiteY5" fmla="*/ 29156 h 58161"/>
                  <a:gd name="connsiteX6" fmla="*/ 57209 w 61248"/>
                  <a:gd name="connsiteY6" fmla="*/ 44109 h 58161"/>
                  <a:gd name="connsiteX7" fmla="*/ 46293 w 61248"/>
                  <a:gd name="connsiteY7" fmla="*/ 54427 h 58161"/>
                  <a:gd name="connsiteX8" fmla="*/ 15040 w 61248"/>
                  <a:gd name="connsiteY8" fmla="*/ 54427 h 58161"/>
                  <a:gd name="connsiteX9" fmla="*/ 40910 w 61248"/>
                  <a:gd name="connsiteY9" fmla="*/ 46501 h 58161"/>
                  <a:gd name="connsiteX10" fmla="*/ 48087 w 61248"/>
                  <a:gd name="connsiteY10" fmla="*/ 39324 h 58161"/>
                  <a:gd name="connsiteX11" fmla="*/ 50630 w 61248"/>
                  <a:gd name="connsiteY11" fmla="*/ 29006 h 58161"/>
                  <a:gd name="connsiteX12" fmla="*/ 48087 w 61248"/>
                  <a:gd name="connsiteY12" fmla="*/ 18838 h 58161"/>
                  <a:gd name="connsiteX13" fmla="*/ 40910 w 61248"/>
                  <a:gd name="connsiteY13" fmla="*/ 11660 h 58161"/>
                  <a:gd name="connsiteX14" fmla="*/ 30742 w 61248"/>
                  <a:gd name="connsiteY14" fmla="*/ 9118 h 58161"/>
                  <a:gd name="connsiteX15" fmla="*/ 20424 w 61248"/>
                  <a:gd name="connsiteY15" fmla="*/ 11660 h 58161"/>
                  <a:gd name="connsiteX16" fmla="*/ 13395 w 61248"/>
                  <a:gd name="connsiteY16" fmla="*/ 18838 h 58161"/>
                  <a:gd name="connsiteX17" fmla="*/ 10704 w 61248"/>
                  <a:gd name="connsiteY17" fmla="*/ 29006 h 58161"/>
                  <a:gd name="connsiteX18" fmla="*/ 13395 w 61248"/>
                  <a:gd name="connsiteY18" fmla="*/ 39324 h 58161"/>
                  <a:gd name="connsiteX19" fmla="*/ 20424 w 61248"/>
                  <a:gd name="connsiteY19" fmla="*/ 46501 h 58161"/>
                  <a:gd name="connsiteX20" fmla="*/ 30742 w 61248"/>
                  <a:gd name="connsiteY20" fmla="*/ 49044 h 58161"/>
                  <a:gd name="connsiteX21" fmla="*/ 40910 w 61248"/>
                  <a:gd name="connsiteY21" fmla="*/ 46501 h 58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1248" h="58161">
                    <a:moveTo>
                      <a:pt x="15040" y="54576"/>
                    </a:moveTo>
                    <a:cubicBezTo>
                      <a:pt x="999" y="46860"/>
                      <a:pt x="-4130" y="29215"/>
                      <a:pt x="3601" y="15174"/>
                    </a:cubicBezTo>
                    <a:cubicBezTo>
                      <a:pt x="6248" y="10359"/>
                      <a:pt x="10210" y="6381"/>
                      <a:pt x="15040" y="3735"/>
                    </a:cubicBezTo>
                    <a:cubicBezTo>
                      <a:pt x="24865" y="-1245"/>
                      <a:pt x="36469" y="-1245"/>
                      <a:pt x="46293" y="3735"/>
                    </a:cubicBezTo>
                    <a:cubicBezTo>
                      <a:pt x="50854" y="6127"/>
                      <a:pt x="54637" y="9746"/>
                      <a:pt x="57209" y="14202"/>
                    </a:cubicBezTo>
                    <a:cubicBezTo>
                      <a:pt x="59916" y="18718"/>
                      <a:pt x="61306" y="23892"/>
                      <a:pt x="61246" y="29156"/>
                    </a:cubicBezTo>
                    <a:cubicBezTo>
                      <a:pt x="61291" y="34419"/>
                      <a:pt x="59886" y="39578"/>
                      <a:pt x="57209" y="44109"/>
                    </a:cubicBezTo>
                    <a:cubicBezTo>
                      <a:pt x="54577" y="48475"/>
                      <a:pt x="50809" y="52049"/>
                      <a:pt x="46293" y="54427"/>
                    </a:cubicBezTo>
                    <a:cubicBezTo>
                      <a:pt x="36469" y="59406"/>
                      <a:pt x="24865" y="59406"/>
                      <a:pt x="15040" y="54427"/>
                    </a:cubicBezTo>
                    <a:moveTo>
                      <a:pt x="40910" y="46501"/>
                    </a:moveTo>
                    <a:cubicBezTo>
                      <a:pt x="43856" y="44737"/>
                      <a:pt x="46323" y="42270"/>
                      <a:pt x="48087" y="39324"/>
                    </a:cubicBezTo>
                    <a:cubicBezTo>
                      <a:pt x="49777" y="36154"/>
                      <a:pt x="50659" y="32610"/>
                      <a:pt x="50630" y="29006"/>
                    </a:cubicBezTo>
                    <a:cubicBezTo>
                      <a:pt x="50659" y="25462"/>
                      <a:pt x="49777" y="21963"/>
                      <a:pt x="48087" y="18838"/>
                    </a:cubicBezTo>
                    <a:cubicBezTo>
                      <a:pt x="46413" y="15817"/>
                      <a:pt x="43930" y="13335"/>
                      <a:pt x="40910" y="11660"/>
                    </a:cubicBezTo>
                    <a:cubicBezTo>
                      <a:pt x="37785" y="9970"/>
                      <a:pt x="34285" y="9088"/>
                      <a:pt x="30742" y="9118"/>
                    </a:cubicBezTo>
                    <a:cubicBezTo>
                      <a:pt x="27138" y="9088"/>
                      <a:pt x="23594" y="9970"/>
                      <a:pt x="20424" y="11660"/>
                    </a:cubicBezTo>
                    <a:cubicBezTo>
                      <a:pt x="17418" y="13305"/>
                      <a:pt x="14966" y="15802"/>
                      <a:pt x="13395" y="18838"/>
                    </a:cubicBezTo>
                    <a:cubicBezTo>
                      <a:pt x="11586" y="21918"/>
                      <a:pt x="10644" y="25432"/>
                      <a:pt x="10704" y="29006"/>
                    </a:cubicBezTo>
                    <a:cubicBezTo>
                      <a:pt x="10659" y="32625"/>
                      <a:pt x="11586" y="36184"/>
                      <a:pt x="13395" y="39324"/>
                    </a:cubicBezTo>
                    <a:cubicBezTo>
                      <a:pt x="15055" y="42300"/>
                      <a:pt x="17478" y="44782"/>
                      <a:pt x="20424" y="46501"/>
                    </a:cubicBezTo>
                    <a:cubicBezTo>
                      <a:pt x="23594" y="48191"/>
                      <a:pt x="27138" y="49073"/>
                      <a:pt x="30742" y="49044"/>
                    </a:cubicBezTo>
                    <a:cubicBezTo>
                      <a:pt x="34285" y="49073"/>
                      <a:pt x="37785" y="48191"/>
                      <a:pt x="40910" y="4650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4592B2D0-7AA2-3F12-5719-7F6DFD507A47}"/>
                  </a:ext>
                </a:extLst>
              </p:cNvPr>
              <p:cNvSpPr/>
              <p:nvPr/>
            </p:nvSpPr>
            <p:spPr>
              <a:xfrm>
                <a:off x="4460516" y="3403127"/>
                <a:ext cx="62056" cy="56673"/>
              </a:xfrm>
              <a:custGeom>
                <a:avLst/>
                <a:gdLst>
                  <a:gd name="connsiteX0" fmla="*/ 52038 w 62056"/>
                  <a:gd name="connsiteY0" fmla="*/ 56673 h 56673"/>
                  <a:gd name="connsiteX1" fmla="*/ 52038 w 62056"/>
                  <a:gd name="connsiteY1" fmla="*/ 19140 h 56673"/>
                  <a:gd name="connsiteX2" fmla="*/ 33346 w 62056"/>
                  <a:gd name="connsiteY2" fmla="*/ 50244 h 56673"/>
                  <a:gd name="connsiteX3" fmla="*/ 28711 w 62056"/>
                  <a:gd name="connsiteY3" fmla="*/ 50244 h 56673"/>
                  <a:gd name="connsiteX4" fmla="*/ 10019 w 62056"/>
                  <a:gd name="connsiteY4" fmla="*/ 19589 h 56673"/>
                  <a:gd name="connsiteX5" fmla="*/ 10019 w 62056"/>
                  <a:gd name="connsiteY5" fmla="*/ 56673 h 56673"/>
                  <a:gd name="connsiteX6" fmla="*/ 0 w 62056"/>
                  <a:gd name="connsiteY6" fmla="*/ 56673 h 56673"/>
                  <a:gd name="connsiteX7" fmla="*/ 0 w 62056"/>
                  <a:gd name="connsiteY7" fmla="*/ 0 h 56673"/>
                  <a:gd name="connsiteX8" fmla="*/ 8673 w 62056"/>
                  <a:gd name="connsiteY8" fmla="*/ 0 h 56673"/>
                  <a:gd name="connsiteX9" fmla="*/ 31253 w 62056"/>
                  <a:gd name="connsiteY9" fmla="*/ 37533 h 56673"/>
                  <a:gd name="connsiteX10" fmla="*/ 53234 w 62056"/>
                  <a:gd name="connsiteY10" fmla="*/ 0 h 56673"/>
                  <a:gd name="connsiteX11" fmla="*/ 62057 w 62056"/>
                  <a:gd name="connsiteY11" fmla="*/ 0 h 56673"/>
                  <a:gd name="connsiteX12" fmla="*/ 62057 w 62056"/>
                  <a:gd name="connsiteY12" fmla="*/ 56673 h 56673"/>
                  <a:gd name="connsiteX13" fmla="*/ 52038 w 62056"/>
                  <a:gd name="connsiteY13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056" h="56673">
                    <a:moveTo>
                      <a:pt x="52038" y="56673"/>
                    </a:moveTo>
                    <a:lnTo>
                      <a:pt x="52038" y="19140"/>
                    </a:lnTo>
                    <a:lnTo>
                      <a:pt x="33346" y="50244"/>
                    </a:lnTo>
                    <a:lnTo>
                      <a:pt x="28711" y="50244"/>
                    </a:lnTo>
                    <a:lnTo>
                      <a:pt x="10019" y="19589"/>
                    </a:lnTo>
                    <a:lnTo>
                      <a:pt x="10019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253" y="37533"/>
                    </a:lnTo>
                    <a:lnTo>
                      <a:pt x="53234" y="0"/>
                    </a:lnTo>
                    <a:lnTo>
                      <a:pt x="62057" y="0"/>
                    </a:lnTo>
                    <a:lnTo>
                      <a:pt x="62057" y="56673"/>
                    </a:lnTo>
                    <a:lnTo>
                      <a:pt x="52038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992C4EE3-693E-7604-1396-E8B29AFACE9C}"/>
                  </a:ext>
                </a:extLst>
              </p:cNvPr>
              <p:cNvSpPr/>
              <p:nvPr/>
            </p:nvSpPr>
            <p:spPr>
              <a:xfrm>
                <a:off x="4564891" y="3403123"/>
                <a:ext cx="47414" cy="56827"/>
              </a:xfrm>
              <a:custGeom>
                <a:avLst/>
                <a:gdLst>
                  <a:gd name="connsiteX0" fmla="*/ 36187 w 47414"/>
                  <a:gd name="connsiteY0" fmla="*/ 2547 h 56827"/>
                  <a:gd name="connsiteX1" fmla="*/ 44561 w 47414"/>
                  <a:gd name="connsiteY1" fmla="*/ 9425 h 56827"/>
                  <a:gd name="connsiteX2" fmla="*/ 47402 w 47414"/>
                  <a:gd name="connsiteY2" fmla="*/ 20192 h 56827"/>
                  <a:gd name="connsiteX3" fmla="*/ 44561 w 47414"/>
                  <a:gd name="connsiteY3" fmla="*/ 30958 h 56827"/>
                  <a:gd name="connsiteX4" fmla="*/ 36187 w 47414"/>
                  <a:gd name="connsiteY4" fmla="*/ 37986 h 56827"/>
                  <a:gd name="connsiteX5" fmla="*/ 23327 w 47414"/>
                  <a:gd name="connsiteY5" fmla="*/ 40379 h 56827"/>
                  <a:gd name="connsiteX6" fmla="*/ 10467 w 47414"/>
                  <a:gd name="connsiteY6" fmla="*/ 40379 h 56827"/>
                  <a:gd name="connsiteX7" fmla="*/ 10467 w 47414"/>
                  <a:gd name="connsiteY7" fmla="*/ 56827 h 56827"/>
                  <a:gd name="connsiteX8" fmla="*/ 0 w 47414"/>
                  <a:gd name="connsiteY8" fmla="*/ 56827 h 56827"/>
                  <a:gd name="connsiteX9" fmla="*/ 0 w 47414"/>
                  <a:gd name="connsiteY9" fmla="*/ 4 h 56827"/>
                  <a:gd name="connsiteX10" fmla="*/ 23327 w 47414"/>
                  <a:gd name="connsiteY10" fmla="*/ 4 h 56827"/>
                  <a:gd name="connsiteX11" fmla="*/ 36187 w 47414"/>
                  <a:gd name="connsiteY11" fmla="*/ 2547 h 56827"/>
                  <a:gd name="connsiteX12" fmla="*/ 33197 w 47414"/>
                  <a:gd name="connsiteY12" fmla="*/ 28565 h 56827"/>
                  <a:gd name="connsiteX13" fmla="*/ 36785 w 47414"/>
                  <a:gd name="connsiteY13" fmla="*/ 20192 h 56827"/>
                  <a:gd name="connsiteX14" fmla="*/ 33197 w 47414"/>
                  <a:gd name="connsiteY14" fmla="*/ 11967 h 56827"/>
                  <a:gd name="connsiteX15" fmla="*/ 22729 w 47414"/>
                  <a:gd name="connsiteY15" fmla="*/ 8976 h 56827"/>
                  <a:gd name="connsiteX16" fmla="*/ 10467 w 47414"/>
                  <a:gd name="connsiteY16" fmla="*/ 8976 h 56827"/>
                  <a:gd name="connsiteX17" fmla="*/ 10467 w 47414"/>
                  <a:gd name="connsiteY17" fmla="*/ 31556 h 56827"/>
                  <a:gd name="connsiteX18" fmla="*/ 22729 w 47414"/>
                  <a:gd name="connsiteY18" fmla="*/ 31556 h 56827"/>
                  <a:gd name="connsiteX19" fmla="*/ 33197 w 47414"/>
                  <a:gd name="connsiteY19" fmla="*/ 28565 h 56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7414" h="56827">
                    <a:moveTo>
                      <a:pt x="36187" y="2547"/>
                    </a:moveTo>
                    <a:cubicBezTo>
                      <a:pt x="39582" y="3982"/>
                      <a:pt x="42498" y="6375"/>
                      <a:pt x="44561" y="9425"/>
                    </a:cubicBezTo>
                    <a:cubicBezTo>
                      <a:pt x="46505" y="12670"/>
                      <a:pt x="47492" y="16408"/>
                      <a:pt x="47402" y="20192"/>
                    </a:cubicBezTo>
                    <a:cubicBezTo>
                      <a:pt x="47537" y="23975"/>
                      <a:pt x="46550" y="27728"/>
                      <a:pt x="44561" y="30958"/>
                    </a:cubicBezTo>
                    <a:cubicBezTo>
                      <a:pt x="42542" y="34083"/>
                      <a:pt x="39627" y="36536"/>
                      <a:pt x="36187" y="37986"/>
                    </a:cubicBezTo>
                    <a:cubicBezTo>
                      <a:pt x="32120" y="39676"/>
                      <a:pt x="27739" y="40498"/>
                      <a:pt x="23327" y="40379"/>
                    </a:cubicBezTo>
                    <a:lnTo>
                      <a:pt x="10467" y="40379"/>
                    </a:lnTo>
                    <a:lnTo>
                      <a:pt x="10467" y="56827"/>
                    </a:lnTo>
                    <a:lnTo>
                      <a:pt x="0" y="56827"/>
                    </a:lnTo>
                    <a:lnTo>
                      <a:pt x="0" y="4"/>
                    </a:lnTo>
                    <a:lnTo>
                      <a:pt x="23327" y="4"/>
                    </a:lnTo>
                    <a:cubicBezTo>
                      <a:pt x="27739" y="-70"/>
                      <a:pt x="32135" y="797"/>
                      <a:pt x="36187" y="2547"/>
                    </a:cubicBezTo>
                    <a:moveTo>
                      <a:pt x="33197" y="28565"/>
                    </a:moveTo>
                    <a:cubicBezTo>
                      <a:pt x="35664" y="26517"/>
                      <a:pt x="36995" y="23392"/>
                      <a:pt x="36785" y="20192"/>
                    </a:cubicBezTo>
                    <a:cubicBezTo>
                      <a:pt x="36980" y="17036"/>
                      <a:pt x="35649" y="13971"/>
                      <a:pt x="33197" y="11967"/>
                    </a:cubicBezTo>
                    <a:cubicBezTo>
                      <a:pt x="30161" y="9784"/>
                      <a:pt x="26453" y="8737"/>
                      <a:pt x="22729" y="8976"/>
                    </a:cubicBezTo>
                    <a:lnTo>
                      <a:pt x="10467" y="8976"/>
                    </a:lnTo>
                    <a:lnTo>
                      <a:pt x="10467" y="31556"/>
                    </a:lnTo>
                    <a:lnTo>
                      <a:pt x="22729" y="31556"/>
                    </a:lnTo>
                    <a:cubicBezTo>
                      <a:pt x="26453" y="31795"/>
                      <a:pt x="30161" y="30749"/>
                      <a:pt x="33197" y="2856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2AE21737-A688-5DD9-4EFD-E1ABD1304624}"/>
                  </a:ext>
                </a:extLst>
              </p:cNvPr>
              <p:cNvSpPr/>
              <p:nvPr/>
            </p:nvSpPr>
            <p:spPr>
              <a:xfrm>
                <a:off x="4640854" y="3403127"/>
                <a:ext cx="48150" cy="56673"/>
              </a:xfrm>
              <a:custGeom>
                <a:avLst/>
                <a:gdLst>
                  <a:gd name="connsiteX0" fmla="*/ 18841 w 48150"/>
                  <a:gd name="connsiteY0" fmla="*/ 8822 h 56673"/>
                  <a:gd name="connsiteX1" fmla="*/ 0 w 48150"/>
                  <a:gd name="connsiteY1" fmla="*/ 8822 h 56673"/>
                  <a:gd name="connsiteX2" fmla="*/ 0 w 48150"/>
                  <a:gd name="connsiteY2" fmla="*/ 0 h 56673"/>
                  <a:gd name="connsiteX3" fmla="*/ 48150 w 48150"/>
                  <a:gd name="connsiteY3" fmla="*/ 0 h 56673"/>
                  <a:gd name="connsiteX4" fmla="*/ 48150 w 48150"/>
                  <a:gd name="connsiteY4" fmla="*/ 8822 h 56673"/>
                  <a:gd name="connsiteX5" fmla="*/ 29309 w 48150"/>
                  <a:gd name="connsiteY5" fmla="*/ 8822 h 56673"/>
                  <a:gd name="connsiteX6" fmla="*/ 29309 w 48150"/>
                  <a:gd name="connsiteY6" fmla="*/ 56673 h 56673"/>
                  <a:gd name="connsiteX7" fmla="*/ 18841 w 48150"/>
                  <a:gd name="connsiteY7" fmla="*/ 56673 h 56673"/>
                  <a:gd name="connsiteX8" fmla="*/ 18841 w 48150"/>
                  <a:gd name="connsiteY8" fmla="*/ 8822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673">
                    <a:moveTo>
                      <a:pt x="18841" y="8822"/>
                    </a:moveTo>
                    <a:lnTo>
                      <a:pt x="0" y="882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822"/>
                    </a:lnTo>
                    <a:lnTo>
                      <a:pt x="29309" y="8822"/>
                    </a:lnTo>
                    <a:lnTo>
                      <a:pt x="29309" y="56673"/>
                    </a:lnTo>
                    <a:lnTo>
                      <a:pt x="18841" y="56673"/>
                    </a:lnTo>
                    <a:lnTo>
                      <a:pt x="18841" y="882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8CB30403-5DFD-C312-F317-12FEA67102B8}"/>
                  </a:ext>
                </a:extLst>
              </p:cNvPr>
              <p:cNvSpPr/>
              <p:nvPr/>
            </p:nvSpPr>
            <p:spPr>
              <a:xfrm>
                <a:off x="4723846" y="3403127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2 h 56673"/>
                  <a:gd name="connsiteX6" fmla="*/ 10617 w 42617"/>
                  <a:gd name="connsiteY6" fmla="*/ 8822 h 56673"/>
                  <a:gd name="connsiteX7" fmla="*/ 10617 w 42617"/>
                  <a:gd name="connsiteY7" fmla="*/ 23477 h 56673"/>
                  <a:gd name="connsiteX8" fmla="*/ 37982 w 42617"/>
                  <a:gd name="connsiteY8" fmla="*/ 23477 h 56673"/>
                  <a:gd name="connsiteX9" fmla="*/ 37982 w 42617"/>
                  <a:gd name="connsiteY9" fmla="*/ 32150 h 56673"/>
                  <a:gd name="connsiteX10" fmla="*/ 10617 w 42617"/>
                  <a:gd name="connsiteY10" fmla="*/ 32150 h 56673"/>
                  <a:gd name="connsiteX11" fmla="*/ 1061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2"/>
                    </a:lnTo>
                    <a:lnTo>
                      <a:pt x="10617" y="8822"/>
                    </a:lnTo>
                    <a:lnTo>
                      <a:pt x="10617" y="23477"/>
                    </a:lnTo>
                    <a:lnTo>
                      <a:pt x="37982" y="23477"/>
                    </a:lnTo>
                    <a:lnTo>
                      <a:pt x="37982" y="32150"/>
                    </a:lnTo>
                    <a:lnTo>
                      <a:pt x="10617" y="32150"/>
                    </a:lnTo>
                    <a:lnTo>
                      <a:pt x="1061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151023F6-81AB-708F-C945-B272BDF5815B}"/>
                  </a:ext>
                </a:extLst>
              </p:cNvPr>
              <p:cNvSpPr/>
              <p:nvPr/>
            </p:nvSpPr>
            <p:spPr>
              <a:xfrm>
                <a:off x="4800257" y="3402218"/>
                <a:ext cx="45332" cy="58340"/>
              </a:xfrm>
              <a:custGeom>
                <a:avLst/>
                <a:gdLst>
                  <a:gd name="connsiteX0" fmla="*/ 9720 w 45332"/>
                  <a:gd name="connsiteY0" fmla="*/ 56536 h 58340"/>
                  <a:gd name="connsiteX1" fmla="*/ 0 w 45332"/>
                  <a:gd name="connsiteY1" fmla="*/ 51602 h 58340"/>
                  <a:gd name="connsiteX2" fmla="*/ 3738 w 45332"/>
                  <a:gd name="connsiteY2" fmla="*/ 43377 h 58340"/>
                  <a:gd name="connsiteX3" fmla="*/ 12262 w 45332"/>
                  <a:gd name="connsiteY3" fmla="*/ 47863 h 58340"/>
                  <a:gd name="connsiteX4" fmla="*/ 22430 w 45332"/>
                  <a:gd name="connsiteY4" fmla="*/ 49658 h 58340"/>
                  <a:gd name="connsiteX5" fmla="*/ 31851 w 45332"/>
                  <a:gd name="connsiteY5" fmla="*/ 47564 h 58340"/>
                  <a:gd name="connsiteX6" fmla="*/ 34991 w 45332"/>
                  <a:gd name="connsiteY6" fmla="*/ 42181 h 58340"/>
                  <a:gd name="connsiteX7" fmla="*/ 33197 w 45332"/>
                  <a:gd name="connsiteY7" fmla="*/ 38293 h 58340"/>
                  <a:gd name="connsiteX8" fmla="*/ 28860 w 45332"/>
                  <a:gd name="connsiteY8" fmla="*/ 35751 h 58340"/>
                  <a:gd name="connsiteX9" fmla="*/ 21533 w 45332"/>
                  <a:gd name="connsiteY9" fmla="*/ 33807 h 58340"/>
                  <a:gd name="connsiteX10" fmla="*/ 11065 w 45332"/>
                  <a:gd name="connsiteY10" fmla="*/ 30667 h 58340"/>
                  <a:gd name="connsiteX11" fmla="*/ 4187 w 45332"/>
                  <a:gd name="connsiteY11" fmla="*/ 25882 h 58340"/>
                  <a:gd name="connsiteX12" fmla="*/ 1346 w 45332"/>
                  <a:gd name="connsiteY12" fmla="*/ 16910 h 58340"/>
                  <a:gd name="connsiteX13" fmla="*/ 3888 w 45332"/>
                  <a:gd name="connsiteY13" fmla="*/ 8386 h 58340"/>
                  <a:gd name="connsiteX14" fmla="*/ 11514 w 45332"/>
                  <a:gd name="connsiteY14" fmla="*/ 2255 h 58340"/>
                  <a:gd name="connsiteX15" fmla="*/ 24075 w 45332"/>
                  <a:gd name="connsiteY15" fmla="*/ 12 h 58340"/>
                  <a:gd name="connsiteX16" fmla="*/ 34393 w 45332"/>
                  <a:gd name="connsiteY16" fmla="*/ 1358 h 58340"/>
                  <a:gd name="connsiteX17" fmla="*/ 43066 w 45332"/>
                  <a:gd name="connsiteY17" fmla="*/ 5096 h 58340"/>
                  <a:gd name="connsiteX18" fmla="*/ 39626 w 45332"/>
                  <a:gd name="connsiteY18" fmla="*/ 13171 h 58340"/>
                  <a:gd name="connsiteX19" fmla="*/ 31851 w 45332"/>
                  <a:gd name="connsiteY19" fmla="*/ 9881 h 58340"/>
                  <a:gd name="connsiteX20" fmla="*/ 24075 w 45332"/>
                  <a:gd name="connsiteY20" fmla="*/ 8835 h 58340"/>
                  <a:gd name="connsiteX21" fmla="*/ 14804 w 45332"/>
                  <a:gd name="connsiteY21" fmla="*/ 10928 h 58340"/>
                  <a:gd name="connsiteX22" fmla="*/ 11664 w 45332"/>
                  <a:gd name="connsiteY22" fmla="*/ 16461 h 58340"/>
                  <a:gd name="connsiteX23" fmla="*/ 13458 w 45332"/>
                  <a:gd name="connsiteY23" fmla="*/ 20498 h 58340"/>
                  <a:gd name="connsiteX24" fmla="*/ 17944 w 45332"/>
                  <a:gd name="connsiteY24" fmla="*/ 22891 h 58340"/>
                  <a:gd name="connsiteX25" fmla="*/ 25122 w 45332"/>
                  <a:gd name="connsiteY25" fmla="*/ 24835 h 58340"/>
                  <a:gd name="connsiteX26" fmla="*/ 35589 w 45332"/>
                  <a:gd name="connsiteY26" fmla="*/ 27975 h 58340"/>
                  <a:gd name="connsiteX27" fmla="*/ 42468 w 45332"/>
                  <a:gd name="connsiteY27" fmla="*/ 32760 h 58340"/>
                  <a:gd name="connsiteX28" fmla="*/ 45309 w 45332"/>
                  <a:gd name="connsiteY28" fmla="*/ 41583 h 58340"/>
                  <a:gd name="connsiteX29" fmla="*/ 42767 w 45332"/>
                  <a:gd name="connsiteY29" fmla="*/ 50106 h 58340"/>
                  <a:gd name="connsiteX30" fmla="*/ 35140 w 45332"/>
                  <a:gd name="connsiteY30" fmla="*/ 56088 h 58340"/>
                  <a:gd name="connsiteX31" fmla="*/ 22430 w 45332"/>
                  <a:gd name="connsiteY31" fmla="*/ 58331 h 58340"/>
                  <a:gd name="connsiteX32" fmla="*/ 9720 w 45332"/>
                  <a:gd name="connsiteY32" fmla="*/ 56536 h 5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2" h="58340">
                    <a:moveTo>
                      <a:pt x="9720" y="56536"/>
                    </a:moveTo>
                    <a:cubicBezTo>
                      <a:pt x="6161" y="55594"/>
                      <a:pt x="2856" y="53919"/>
                      <a:pt x="0" y="51602"/>
                    </a:cubicBezTo>
                    <a:lnTo>
                      <a:pt x="3738" y="43377"/>
                    </a:lnTo>
                    <a:cubicBezTo>
                      <a:pt x="6310" y="45351"/>
                      <a:pt x="9181" y="46861"/>
                      <a:pt x="12262" y="47863"/>
                    </a:cubicBezTo>
                    <a:cubicBezTo>
                      <a:pt x="15522" y="49045"/>
                      <a:pt x="18961" y="49658"/>
                      <a:pt x="22430" y="49658"/>
                    </a:cubicBezTo>
                    <a:cubicBezTo>
                      <a:pt x="25705" y="49852"/>
                      <a:pt x="28965" y="49119"/>
                      <a:pt x="31851" y="47564"/>
                    </a:cubicBezTo>
                    <a:cubicBezTo>
                      <a:pt x="33795" y="46472"/>
                      <a:pt x="35006" y="44409"/>
                      <a:pt x="34991" y="42181"/>
                    </a:cubicBezTo>
                    <a:cubicBezTo>
                      <a:pt x="34991" y="40685"/>
                      <a:pt x="34333" y="39265"/>
                      <a:pt x="33197" y="38293"/>
                    </a:cubicBezTo>
                    <a:cubicBezTo>
                      <a:pt x="31970" y="37127"/>
                      <a:pt x="30475" y="36259"/>
                      <a:pt x="28860" y="35751"/>
                    </a:cubicBezTo>
                    <a:lnTo>
                      <a:pt x="21533" y="33807"/>
                    </a:lnTo>
                    <a:cubicBezTo>
                      <a:pt x="17974" y="32984"/>
                      <a:pt x="14475" y="31938"/>
                      <a:pt x="11065" y="30667"/>
                    </a:cubicBezTo>
                    <a:cubicBezTo>
                      <a:pt x="8434" y="29620"/>
                      <a:pt x="6086" y="27990"/>
                      <a:pt x="4187" y="25882"/>
                    </a:cubicBezTo>
                    <a:cubicBezTo>
                      <a:pt x="2168" y="23340"/>
                      <a:pt x="1151" y="20154"/>
                      <a:pt x="1346" y="16910"/>
                    </a:cubicBezTo>
                    <a:cubicBezTo>
                      <a:pt x="1316" y="13874"/>
                      <a:pt x="2198" y="10898"/>
                      <a:pt x="3888" y="8386"/>
                    </a:cubicBezTo>
                    <a:cubicBezTo>
                      <a:pt x="5757" y="5635"/>
                      <a:pt x="8419" y="3496"/>
                      <a:pt x="11514" y="2255"/>
                    </a:cubicBezTo>
                    <a:cubicBezTo>
                      <a:pt x="15506" y="655"/>
                      <a:pt x="19783" y="-107"/>
                      <a:pt x="24075" y="12"/>
                    </a:cubicBezTo>
                    <a:cubicBezTo>
                      <a:pt x="27559" y="12"/>
                      <a:pt x="31028" y="461"/>
                      <a:pt x="34393" y="1358"/>
                    </a:cubicBezTo>
                    <a:cubicBezTo>
                      <a:pt x="37458" y="2136"/>
                      <a:pt x="40389" y="3392"/>
                      <a:pt x="43066" y="5096"/>
                    </a:cubicBezTo>
                    <a:lnTo>
                      <a:pt x="39626" y="13171"/>
                    </a:lnTo>
                    <a:cubicBezTo>
                      <a:pt x="37174" y="11766"/>
                      <a:pt x="34557" y="10674"/>
                      <a:pt x="31851" y="9881"/>
                    </a:cubicBezTo>
                    <a:cubicBezTo>
                      <a:pt x="29324" y="9179"/>
                      <a:pt x="26707" y="8820"/>
                      <a:pt x="24075" y="8835"/>
                    </a:cubicBezTo>
                    <a:cubicBezTo>
                      <a:pt x="20845" y="8506"/>
                      <a:pt x="17585" y="9238"/>
                      <a:pt x="14804" y="10928"/>
                    </a:cubicBezTo>
                    <a:cubicBezTo>
                      <a:pt x="12860" y="12095"/>
                      <a:pt x="11664" y="14188"/>
                      <a:pt x="11664" y="16461"/>
                    </a:cubicBezTo>
                    <a:cubicBezTo>
                      <a:pt x="11619" y="18016"/>
                      <a:pt x="12277" y="19496"/>
                      <a:pt x="13458" y="20498"/>
                    </a:cubicBezTo>
                    <a:cubicBezTo>
                      <a:pt x="14774" y="21590"/>
                      <a:pt x="16299" y="22397"/>
                      <a:pt x="17944" y="22891"/>
                    </a:cubicBezTo>
                    <a:lnTo>
                      <a:pt x="25122" y="24835"/>
                    </a:lnTo>
                    <a:cubicBezTo>
                      <a:pt x="28681" y="25657"/>
                      <a:pt x="32180" y="26704"/>
                      <a:pt x="35589" y="27975"/>
                    </a:cubicBezTo>
                    <a:cubicBezTo>
                      <a:pt x="38221" y="29022"/>
                      <a:pt x="40569" y="30652"/>
                      <a:pt x="42468" y="32760"/>
                    </a:cubicBezTo>
                    <a:cubicBezTo>
                      <a:pt x="44486" y="35242"/>
                      <a:pt x="45503" y="38383"/>
                      <a:pt x="45309" y="41583"/>
                    </a:cubicBezTo>
                    <a:cubicBezTo>
                      <a:pt x="45339" y="44618"/>
                      <a:pt x="44456" y="47594"/>
                      <a:pt x="42767" y="50106"/>
                    </a:cubicBezTo>
                    <a:cubicBezTo>
                      <a:pt x="40883" y="52828"/>
                      <a:pt x="38221" y="54906"/>
                      <a:pt x="35140" y="56088"/>
                    </a:cubicBezTo>
                    <a:cubicBezTo>
                      <a:pt x="31088" y="57673"/>
                      <a:pt x="26767" y="58435"/>
                      <a:pt x="22430" y="58331"/>
                    </a:cubicBezTo>
                    <a:cubicBezTo>
                      <a:pt x="18123" y="58345"/>
                      <a:pt x="13847" y="57747"/>
                      <a:pt x="9720" y="5653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FBD4435C-38C9-AABA-4236-B6480747F235}"/>
                  </a:ext>
                </a:extLst>
              </p:cNvPr>
              <p:cNvSpPr/>
              <p:nvPr/>
            </p:nvSpPr>
            <p:spPr>
              <a:xfrm>
                <a:off x="2714705" y="3500324"/>
                <a:ext cx="42617" cy="56822"/>
              </a:xfrm>
              <a:custGeom>
                <a:avLst/>
                <a:gdLst>
                  <a:gd name="connsiteX0" fmla="*/ 42617 w 42617"/>
                  <a:gd name="connsiteY0" fmla="*/ 48000 h 56822"/>
                  <a:gd name="connsiteX1" fmla="*/ 42617 w 42617"/>
                  <a:gd name="connsiteY1" fmla="*/ 56823 h 56822"/>
                  <a:gd name="connsiteX2" fmla="*/ 0 w 42617"/>
                  <a:gd name="connsiteY2" fmla="*/ 56823 h 56822"/>
                  <a:gd name="connsiteX3" fmla="*/ 0 w 42617"/>
                  <a:gd name="connsiteY3" fmla="*/ 0 h 56822"/>
                  <a:gd name="connsiteX4" fmla="*/ 41421 w 42617"/>
                  <a:gd name="connsiteY4" fmla="*/ 0 h 56822"/>
                  <a:gd name="connsiteX5" fmla="*/ 41421 w 42617"/>
                  <a:gd name="connsiteY5" fmla="*/ 8822 h 56822"/>
                  <a:gd name="connsiteX6" fmla="*/ 10617 w 42617"/>
                  <a:gd name="connsiteY6" fmla="*/ 8822 h 56822"/>
                  <a:gd name="connsiteX7" fmla="*/ 10617 w 42617"/>
                  <a:gd name="connsiteY7" fmla="*/ 23626 h 56822"/>
                  <a:gd name="connsiteX8" fmla="*/ 37982 w 42617"/>
                  <a:gd name="connsiteY8" fmla="*/ 23626 h 56822"/>
                  <a:gd name="connsiteX9" fmla="*/ 37982 w 42617"/>
                  <a:gd name="connsiteY9" fmla="*/ 32299 h 56822"/>
                  <a:gd name="connsiteX10" fmla="*/ 10617 w 42617"/>
                  <a:gd name="connsiteY10" fmla="*/ 32299 h 56822"/>
                  <a:gd name="connsiteX11" fmla="*/ 10617 w 42617"/>
                  <a:gd name="connsiteY11" fmla="*/ 48000 h 56822"/>
                  <a:gd name="connsiteX12" fmla="*/ 42617 w 42617"/>
                  <a:gd name="connsiteY12" fmla="*/ 48000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822">
                    <a:moveTo>
                      <a:pt x="42617" y="48000"/>
                    </a:moveTo>
                    <a:lnTo>
                      <a:pt x="42617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2"/>
                    </a:lnTo>
                    <a:lnTo>
                      <a:pt x="10617" y="8822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8000"/>
                    </a:lnTo>
                    <a:lnTo>
                      <a:pt x="42617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BBBC96BD-5364-E472-2594-2F7E456076C1}"/>
                  </a:ext>
                </a:extLst>
              </p:cNvPr>
              <p:cNvSpPr/>
              <p:nvPr/>
            </p:nvSpPr>
            <p:spPr>
              <a:xfrm>
                <a:off x="2796650" y="3500324"/>
                <a:ext cx="48149" cy="56822"/>
              </a:xfrm>
              <a:custGeom>
                <a:avLst/>
                <a:gdLst>
                  <a:gd name="connsiteX0" fmla="*/ 18692 w 48149"/>
                  <a:gd name="connsiteY0" fmla="*/ 8972 h 56822"/>
                  <a:gd name="connsiteX1" fmla="*/ 0 w 48149"/>
                  <a:gd name="connsiteY1" fmla="*/ 8972 h 56822"/>
                  <a:gd name="connsiteX2" fmla="*/ 0 w 48149"/>
                  <a:gd name="connsiteY2" fmla="*/ 0 h 56822"/>
                  <a:gd name="connsiteX3" fmla="*/ 48150 w 48149"/>
                  <a:gd name="connsiteY3" fmla="*/ 0 h 56822"/>
                  <a:gd name="connsiteX4" fmla="*/ 48150 w 48149"/>
                  <a:gd name="connsiteY4" fmla="*/ 8972 h 56822"/>
                  <a:gd name="connsiteX5" fmla="*/ 29309 w 48149"/>
                  <a:gd name="connsiteY5" fmla="*/ 8972 h 56822"/>
                  <a:gd name="connsiteX6" fmla="*/ 29309 w 48149"/>
                  <a:gd name="connsiteY6" fmla="*/ 56823 h 56822"/>
                  <a:gd name="connsiteX7" fmla="*/ 18692 w 48149"/>
                  <a:gd name="connsiteY7" fmla="*/ 56823 h 56822"/>
                  <a:gd name="connsiteX8" fmla="*/ 18692 w 48149"/>
                  <a:gd name="connsiteY8" fmla="*/ 8972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49" h="56822">
                    <a:moveTo>
                      <a:pt x="18692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309" y="8972"/>
                    </a:lnTo>
                    <a:lnTo>
                      <a:pt x="29309" y="56823"/>
                    </a:lnTo>
                    <a:lnTo>
                      <a:pt x="18692" y="56823"/>
                    </a:lnTo>
                    <a:lnTo>
                      <a:pt x="18692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E1D42D5D-2406-83E9-465C-E6E9A1E169D1}"/>
                  </a:ext>
                </a:extLst>
              </p:cNvPr>
              <p:cNvSpPr/>
              <p:nvPr/>
            </p:nvSpPr>
            <p:spPr>
              <a:xfrm>
                <a:off x="2944838" y="3500318"/>
                <a:ext cx="55782" cy="56984"/>
              </a:xfrm>
              <a:custGeom>
                <a:avLst/>
                <a:gdLst>
                  <a:gd name="connsiteX0" fmla="*/ 0 w 55782"/>
                  <a:gd name="connsiteY0" fmla="*/ 6 h 56984"/>
                  <a:gd name="connsiteX1" fmla="*/ 24823 w 55782"/>
                  <a:gd name="connsiteY1" fmla="*/ 6 h 56984"/>
                  <a:gd name="connsiteX2" fmla="*/ 40823 w 55782"/>
                  <a:gd name="connsiteY2" fmla="*/ 3595 h 56984"/>
                  <a:gd name="connsiteX3" fmla="*/ 51888 w 55782"/>
                  <a:gd name="connsiteY3" fmla="*/ 13464 h 56984"/>
                  <a:gd name="connsiteX4" fmla="*/ 55776 w 55782"/>
                  <a:gd name="connsiteY4" fmla="*/ 28418 h 56984"/>
                  <a:gd name="connsiteX5" fmla="*/ 51888 w 55782"/>
                  <a:gd name="connsiteY5" fmla="*/ 43371 h 56984"/>
                  <a:gd name="connsiteX6" fmla="*/ 40823 w 55782"/>
                  <a:gd name="connsiteY6" fmla="*/ 53390 h 56984"/>
                  <a:gd name="connsiteX7" fmla="*/ 24823 w 55782"/>
                  <a:gd name="connsiteY7" fmla="*/ 56979 h 56984"/>
                  <a:gd name="connsiteX8" fmla="*/ 0 w 55782"/>
                  <a:gd name="connsiteY8" fmla="*/ 56979 h 56984"/>
                  <a:gd name="connsiteX9" fmla="*/ 24225 w 55782"/>
                  <a:gd name="connsiteY9" fmla="*/ 47857 h 56984"/>
                  <a:gd name="connsiteX10" fmla="*/ 35290 w 55782"/>
                  <a:gd name="connsiteY10" fmla="*/ 45465 h 56984"/>
                  <a:gd name="connsiteX11" fmla="*/ 42617 w 55782"/>
                  <a:gd name="connsiteY11" fmla="*/ 38586 h 56984"/>
                  <a:gd name="connsiteX12" fmla="*/ 45159 w 55782"/>
                  <a:gd name="connsiteY12" fmla="*/ 28418 h 56984"/>
                  <a:gd name="connsiteX13" fmla="*/ 42617 w 55782"/>
                  <a:gd name="connsiteY13" fmla="*/ 18100 h 56984"/>
                  <a:gd name="connsiteX14" fmla="*/ 35290 w 55782"/>
                  <a:gd name="connsiteY14" fmla="*/ 11371 h 56984"/>
                  <a:gd name="connsiteX15" fmla="*/ 24225 w 55782"/>
                  <a:gd name="connsiteY15" fmla="*/ 8978 h 56984"/>
                  <a:gd name="connsiteX16" fmla="*/ 10467 w 55782"/>
                  <a:gd name="connsiteY16" fmla="*/ 8978 h 56984"/>
                  <a:gd name="connsiteX17" fmla="*/ 10467 w 55782"/>
                  <a:gd name="connsiteY17" fmla="*/ 47857 h 56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782" h="56984">
                    <a:moveTo>
                      <a:pt x="0" y="6"/>
                    </a:moveTo>
                    <a:lnTo>
                      <a:pt x="24823" y="6"/>
                    </a:lnTo>
                    <a:cubicBezTo>
                      <a:pt x="30367" y="-99"/>
                      <a:pt x="35855" y="1128"/>
                      <a:pt x="40823" y="3595"/>
                    </a:cubicBezTo>
                    <a:cubicBezTo>
                      <a:pt x="45381" y="5763"/>
                      <a:pt x="49222" y="9188"/>
                      <a:pt x="51888" y="13464"/>
                    </a:cubicBezTo>
                    <a:cubicBezTo>
                      <a:pt x="54519" y="18010"/>
                      <a:pt x="55863" y="23169"/>
                      <a:pt x="55776" y="28418"/>
                    </a:cubicBezTo>
                    <a:cubicBezTo>
                      <a:pt x="55887" y="33666"/>
                      <a:pt x="54541" y="38840"/>
                      <a:pt x="51888" y="43371"/>
                    </a:cubicBezTo>
                    <a:cubicBezTo>
                      <a:pt x="49231" y="47693"/>
                      <a:pt x="45391" y="51177"/>
                      <a:pt x="40823" y="53390"/>
                    </a:cubicBezTo>
                    <a:cubicBezTo>
                      <a:pt x="35855" y="55857"/>
                      <a:pt x="30367" y="57083"/>
                      <a:pt x="24823" y="56979"/>
                    </a:cubicBezTo>
                    <a:lnTo>
                      <a:pt x="0" y="56979"/>
                    </a:lnTo>
                    <a:close/>
                    <a:moveTo>
                      <a:pt x="24225" y="47857"/>
                    </a:moveTo>
                    <a:cubicBezTo>
                      <a:pt x="28053" y="47962"/>
                      <a:pt x="31849" y="47154"/>
                      <a:pt x="35290" y="45465"/>
                    </a:cubicBezTo>
                    <a:cubicBezTo>
                      <a:pt x="38333" y="43909"/>
                      <a:pt x="40874" y="41532"/>
                      <a:pt x="42617" y="38586"/>
                    </a:cubicBezTo>
                    <a:cubicBezTo>
                      <a:pt x="44352" y="35476"/>
                      <a:pt x="45230" y="31977"/>
                      <a:pt x="45159" y="28418"/>
                    </a:cubicBezTo>
                    <a:cubicBezTo>
                      <a:pt x="45207" y="24814"/>
                      <a:pt x="44331" y="21270"/>
                      <a:pt x="42617" y="18100"/>
                    </a:cubicBezTo>
                    <a:cubicBezTo>
                      <a:pt x="40827" y="15229"/>
                      <a:pt x="38296" y="12911"/>
                      <a:pt x="35290" y="11371"/>
                    </a:cubicBezTo>
                    <a:cubicBezTo>
                      <a:pt x="31849" y="9681"/>
                      <a:pt x="28053" y="8873"/>
                      <a:pt x="24225" y="8978"/>
                    </a:cubicBezTo>
                    <a:lnTo>
                      <a:pt x="10467" y="8978"/>
                    </a:lnTo>
                    <a:lnTo>
                      <a:pt x="10467" y="47857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03015DCB-E9D2-2AD0-6A37-C7734022BAFB}"/>
                  </a:ext>
                </a:extLst>
              </p:cNvPr>
              <p:cNvSpPr/>
              <p:nvPr/>
            </p:nvSpPr>
            <p:spPr>
              <a:xfrm>
                <a:off x="3046671" y="3500324"/>
                <a:ext cx="42467" cy="56822"/>
              </a:xfrm>
              <a:custGeom>
                <a:avLst/>
                <a:gdLst>
                  <a:gd name="connsiteX0" fmla="*/ 42468 w 42467"/>
                  <a:gd name="connsiteY0" fmla="*/ 48000 h 56822"/>
                  <a:gd name="connsiteX1" fmla="*/ 42468 w 42467"/>
                  <a:gd name="connsiteY1" fmla="*/ 56823 h 56822"/>
                  <a:gd name="connsiteX2" fmla="*/ 0 w 42467"/>
                  <a:gd name="connsiteY2" fmla="*/ 56823 h 56822"/>
                  <a:gd name="connsiteX3" fmla="*/ 0 w 42467"/>
                  <a:gd name="connsiteY3" fmla="*/ 0 h 56822"/>
                  <a:gd name="connsiteX4" fmla="*/ 41421 w 42467"/>
                  <a:gd name="connsiteY4" fmla="*/ 0 h 56822"/>
                  <a:gd name="connsiteX5" fmla="*/ 41421 w 42467"/>
                  <a:gd name="connsiteY5" fmla="*/ 8822 h 56822"/>
                  <a:gd name="connsiteX6" fmla="*/ 10467 w 42467"/>
                  <a:gd name="connsiteY6" fmla="*/ 8822 h 56822"/>
                  <a:gd name="connsiteX7" fmla="*/ 10467 w 42467"/>
                  <a:gd name="connsiteY7" fmla="*/ 23626 h 56822"/>
                  <a:gd name="connsiteX8" fmla="*/ 37832 w 42467"/>
                  <a:gd name="connsiteY8" fmla="*/ 23626 h 56822"/>
                  <a:gd name="connsiteX9" fmla="*/ 37832 w 42467"/>
                  <a:gd name="connsiteY9" fmla="*/ 32299 h 56822"/>
                  <a:gd name="connsiteX10" fmla="*/ 10467 w 42467"/>
                  <a:gd name="connsiteY10" fmla="*/ 32299 h 56822"/>
                  <a:gd name="connsiteX11" fmla="*/ 10467 w 42467"/>
                  <a:gd name="connsiteY11" fmla="*/ 48000 h 56822"/>
                  <a:gd name="connsiteX12" fmla="*/ 42468 w 42467"/>
                  <a:gd name="connsiteY12" fmla="*/ 48000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467" h="56822">
                    <a:moveTo>
                      <a:pt x="42468" y="48000"/>
                    </a:moveTo>
                    <a:lnTo>
                      <a:pt x="42468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2"/>
                    </a:lnTo>
                    <a:lnTo>
                      <a:pt x="10467" y="8822"/>
                    </a:lnTo>
                    <a:lnTo>
                      <a:pt x="10467" y="23626"/>
                    </a:lnTo>
                    <a:lnTo>
                      <a:pt x="37832" y="23626"/>
                    </a:lnTo>
                    <a:lnTo>
                      <a:pt x="37832" y="32299"/>
                    </a:lnTo>
                    <a:lnTo>
                      <a:pt x="10467" y="32299"/>
                    </a:lnTo>
                    <a:lnTo>
                      <a:pt x="10467" y="48000"/>
                    </a:lnTo>
                    <a:lnTo>
                      <a:pt x="42468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91AE73AD-2142-646B-5257-D94E63F3890E}"/>
                  </a:ext>
                </a:extLst>
              </p:cNvPr>
              <p:cNvSpPr/>
              <p:nvPr/>
            </p:nvSpPr>
            <p:spPr>
              <a:xfrm>
                <a:off x="3193065" y="3500324"/>
                <a:ext cx="40224" cy="56822"/>
              </a:xfrm>
              <a:custGeom>
                <a:avLst/>
                <a:gdLst>
                  <a:gd name="connsiteX0" fmla="*/ 0 w 40224"/>
                  <a:gd name="connsiteY0" fmla="*/ 0 h 56822"/>
                  <a:gd name="connsiteX1" fmla="*/ 10467 w 40224"/>
                  <a:gd name="connsiteY1" fmla="*/ 0 h 56822"/>
                  <a:gd name="connsiteX2" fmla="*/ 10467 w 40224"/>
                  <a:gd name="connsiteY2" fmla="*/ 47851 h 56822"/>
                  <a:gd name="connsiteX3" fmla="*/ 40225 w 40224"/>
                  <a:gd name="connsiteY3" fmla="*/ 47851 h 56822"/>
                  <a:gd name="connsiteX4" fmla="*/ 40225 w 40224"/>
                  <a:gd name="connsiteY4" fmla="*/ 56823 h 56822"/>
                  <a:gd name="connsiteX5" fmla="*/ 0 w 40224"/>
                  <a:gd name="connsiteY5" fmla="*/ 56823 h 56822"/>
                  <a:gd name="connsiteX6" fmla="*/ 0 w 40224"/>
                  <a:gd name="connsiteY6" fmla="*/ 0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224" h="56822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47851"/>
                    </a:lnTo>
                    <a:lnTo>
                      <a:pt x="40225" y="47851"/>
                    </a:lnTo>
                    <a:lnTo>
                      <a:pt x="40225" y="56823"/>
                    </a:lnTo>
                    <a:lnTo>
                      <a:pt x="0" y="5682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E924475D-79EE-768F-0D86-15339E2A4540}"/>
                  </a:ext>
                </a:extLst>
              </p:cNvPr>
              <p:cNvSpPr/>
              <p:nvPr/>
            </p:nvSpPr>
            <p:spPr>
              <a:xfrm>
                <a:off x="3268871" y="3496433"/>
                <a:ext cx="12834" cy="25125"/>
              </a:xfrm>
              <a:custGeom>
                <a:avLst/>
                <a:gdLst>
                  <a:gd name="connsiteX0" fmla="*/ 10774 w 12834"/>
                  <a:gd name="connsiteY0" fmla="*/ 1798 h 25125"/>
                  <a:gd name="connsiteX1" fmla="*/ 12718 w 12834"/>
                  <a:gd name="connsiteY1" fmla="*/ 6583 h 25125"/>
                  <a:gd name="connsiteX2" fmla="*/ 12718 w 12834"/>
                  <a:gd name="connsiteY2" fmla="*/ 9424 h 25125"/>
                  <a:gd name="connsiteX3" fmla="*/ 11372 w 12834"/>
                  <a:gd name="connsiteY3" fmla="*/ 13611 h 25125"/>
                  <a:gd name="connsiteX4" fmla="*/ 7185 w 12834"/>
                  <a:gd name="connsiteY4" fmla="*/ 25126 h 25125"/>
                  <a:gd name="connsiteX5" fmla="*/ 606 w 12834"/>
                  <a:gd name="connsiteY5" fmla="*/ 25126 h 25125"/>
                  <a:gd name="connsiteX6" fmla="*/ 3746 w 12834"/>
                  <a:gd name="connsiteY6" fmla="*/ 12565 h 25125"/>
                  <a:gd name="connsiteX7" fmla="*/ 1054 w 12834"/>
                  <a:gd name="connsiteY7" fmla="*/ 10322 h 25125"/>
                  <a:gd name="connsiteX8" fmla="*/ 8 w 12834"/>
                  <a:gd name="connsiteY8" fmla="*/ 6583 h 25125"/>
                  <a:gd name="connsiteX9" fmla="*/ 1802 w 12834"/>
                  <a:gd name="connsiteY9" fmla="*/ 1798 h 25125"/>
                  <a:gd name="connsiteX10" fmla="*/ 6587 w 12834"/>
                  <a:gd name="connsiteY10" fmla="*/ 4 h 25125"/>
                  <a:gd name="connsiteX11" fmla="*/ 11223 w 12834"/>
                  <a:gd name="connsiteY11" fmla="*/ 1798 h 25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34" h="25125">
                    <a:moveTo>
                      <a:pt x="10774" y="1798"/>
                    </a:moveTo>
                    <a:cubicBezTo>
                      <a:pt x="12047" y="3054"/>
                      <a:pt x="12749" y="4789"/>
                      <a:pt x="12718" y="6583"/>
                    </a:cubicBezTo>
                    <a:cubicBezTo>
                      <a:pt x="12873" y="7525"/>
                      <a:pt x="12873" y="8482"/>
                      <a:pt x="12718" y="9424"/>
                    </a:cubicBezTo>
                    <a:cubicBezTo>
                      <a:pt x="12718" y="10322"/>
                      <a:pt x="12718" y="11667"/>
                      <a:pt x="11372" y="13611"/>
                    </a:cubicBezTo>
                    <a:lnTo>
                      <a:pt x="7185" y="25126"/>
                    </a:lnTo>
                    <a:lnTo>
                      <a:pt x="606" y="25126"/>
                    </a:lnTo>
                    <a:lnTo>
                      <a:pt x="3746" y="12565"/>
                    </a:lnTo>
                    <a:cubicBezTo>
                      <a:pt x="2611" y="12161"/>
                      <a:pt x="1657" y="11368"/>
                      <a:pt x="1054" y="10322"/>
                    </a:cubicBezTo>
                    <a:cubicBezTo>
                      <a:pt x="310" y="9215"/>
                      <a:pt x="-58" y="7914"/>
                      <a:pt x="8" y="6583"/>
                    </a:cubicBezTo>
                    <a:cubicBezTo>
                      <a:pt x="-64" y="4819"/>
                      <a:pt x="583" y="3084"/>
                      <a:pt x="1802" y="1798"/>
                    </a:cubicBezTo>
                    <a:cubicBezTo>
                      <a:pt x="3098" y="587"/>
                      <a:pt x="4818" y="-56"/>
                      <a:pt x="6587" y="4"/>
                    </a:cubicBezTo>
                    <a:cubicBezTo>
                      <a:pt x="8310" y="-41"/>
                      <a:pt x="9980" y="602"/>
                      <a:pt x="11223" y="1798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79873FC0-8DDE-4A42-614A-15FB263A2740}"/>
                  </a:ext>
                </a:extLst>
              </p:cNvPr>
              <p:cNvSpPr/>
              <p:nvPr/>
            </p:nvSpPr>
            <p:spPr>
              <a:xfrm>
                <a:off x="3316430" y="3500324"/>
                <a:ext cx="61458" cy="56822"/>
              </a:xfrm>
              <a:custGeom>
                <a:avLst/>
                <a:gdLst>
                  <a:gd name="connsiteX0" fmla="*/ 44860 w 61458"/>
                  <a:gd name="connsiteY0" fmla="*/ 43664 h 56822"/>
                  <a:gd name="connsiteX1" fmla="*/ 16449 w 61458"/>
                  <a:gd name="connsiteY1" fmla="*/ 43664 h 56822"/>
                  <a:gd name="connsiteX2" fmla="*/ 10766 w 61458"/>
                  <a:gd name="connsiteY2" fmla="*/ 56823 h 56822"/>
                  <a:gd name="connsiteX3" fmla="*/ 0 w 61458"/>
                  <a:gd name="connsiteY3" fmla="*/ 56823 h 56822"/>
                  <a:gd name="connsiteX4" fmla="*/ 25570 w 61458"/>
                  <a:gd name="connsiteY4" fmla="*/ 0 h 56822"/>
                  <a:gd name="connsiteX5" fmla="*/ 35888 w 61458"/>
                  <a:gd name="connsiteY5" fmla="*/ 0 h 56822"/>
                  <a:gd name="connsiteX6" fmla="*/ 61459 w 61458"/>
                  <a:gd name="connsiteY6" fmla="*/ 56823 h 56822"/>
                  <a:gd name="connsiteX7" fmla="*/ 50543 w 61458"/>
                  <a:gd name="connsiteY7" fmla="*/ 56823 h 56822"/>
                  <a:gd name="connsiteX8" fmla="*/ 41271 w 61458"/>
                  <a:gd name="connsiteY8" fmla="*/ 35440 h 56822"/>
                  <a:gd name="connsiteX9" fmla="*/ 30655 w 61458"/>
                  <a:gd name="connsiteY9" fmla="*/ 10019 h 56822"/>
                  <a:gd name="connsiteX10" fmla="*/ 20038 w 61458"/>
                  <a:gd name="connsiteY10" fmla="*/ 34842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458" h="56822">
                    <a:moveTo>
                      <a:pt x="44860" y="43664"/>
                    </a:moveTo>
                    <a:lnTo>
                      <a:pt x="16449" y="43664"/>
                    </a:lnTo>
                    <a:lnTo>
                      <a:pt x="10766" y="56823"/>
                    </a:lnTo>
                    <a:lnTo>
                      <a:pt x="0" y="56823"/>
                    </a:lnTo>
                    <a:lnTo>
                      <a:pt x="25570" y="0"/>
                    </a:lnTo>
                    <a:lnTo>
                      <a:pt x="35888" y="0"/>
                    </a:lnTo>
                    <a:lnTo>
                      <a:pt x="61459" y="56823"/>
                    </a:lnTo>
                    <a:lnTo>
                      <a:pt x="50543" y="56823"/>
                    </a:lnTo>
                    <a:close/>
                    <a:moveTo>
                      <a:pt x="41271" y="35440"/>
                    </a:moveTo>
                    <a:lnTo>
                      <a:pt x="30655" y="10019"/>
                    </a:lnTo>
                    <a:lnTo>
                      <a:pt x="20038" y="3484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29A078B5-D4FB-4F2D-0CA5-129BEF50286F}"/>
                  </a:ext>
                </a:extLst>
              </p:cNvPr>
              <p:cNvSpPr/>
              <p:nvPr/>
            </p:nvSpPr>
            <p:spPr>
              <a:xfrm>
                <a:off x="3418215" y="3500324"/>
                <a:ext cx="50638" cy="57551"/>
              </a:xfrm>
              <a:custGeom>
                <a:avLst/>
                <a:gdLst>
                  <a:gd name="connsiteX0" fmla="*/ 6628 w 50638"/>
                  <a:gd name="connsiteY0" fmla="*/ 50991 h 57551"/>
                  <a:gd name="connsiteX1" fmla="*/ 48 w 50638"/>
                  <a:gd name="connsiteY1" fmla="*/ 32000 h 57551"/>
                  <a:gd name="connsiteX2" fmla="*/ 48 w 50638"/>
                  <a:gd name="connsiteY2" fmla="*/ 0 h 57551"/>
                  <a:gd name="connsiteX3" fmla="*/ 10216 w 50638"/>
                  <a:gd name="connsiteY3" fmla="*/ 0 h 57551"/>
                  <a:gd name="connsiteX4" fmla="*/ 10216 w 50638"/>
                  <a:gd name="connsiteY4" fmla="*/ 31701 h 57551"/>
                  <a:gd name="connsiteX5" fmla="*/ 25170 w 50638"/>
                  <a:gd name="connsiteY5" fmla="*/ 48299 h 57551"/>
                  <a:gd name="connsiteX6" fmla="*/ 40123 w 50638"/>
                  <a:gd name="connsiteY6" fmla="*/ 31701 h 57551"/>
                  <a:gd name="connsiteX7" fmla="*/ 40123 w 50638"/>
                  <a:gd name="connsiteY7" fmla="*/ 0 h 57551"/>
                  <a:gd name="connsiteX8" fmla="*/ 50591 w 50638"/>
                  <a:gd name="connsiteY8" fmla="*/ 0 h 57551"/>
                  <a:gd name="connsiteX9" fmla="*/ 50591 w 50638"/>
                  <a:gd name="connsiteY9" fmla="*/ 32000 h 57551"/>
                  <a:gd name="connsiteX10" fmla="*/ 44011 w 50638"/>
                  <a:gd name="connsiteY10" fmla="*/ 50991 h 57551"/>
                  <a:gd name="connsiteX11" fmla="*/ 7375 w 50638"/>
                  <a:gd name="connsiteY11" fmla="*/ 50991 h 5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638" h="57551">
                    <a:moveTo>
                      <a:pt x="6628" y="50991"/>
                    </a:moveTo>
                    <a:cubicBezTo>
                      <a:pt x="1993" y="45787"/>
                      <a:pt x="-374" y="38954"/>
                      <a:pt x="48" y="32000"/>
                    </a:cubicBezTo>
                    <a:lnTo>
                      <a:pt x="48" y="0"/>
                    </a:lnTo>
                    <a:lnTo>
                      <a:pt x="10216" y="0"/>
                    </a:lnTo>
                    <a:lnTo>
                      <a:pt x="10216" y="31701"/>
                    </a:lnTo>
                    <a:cubicBezTo>
                      <a:pt x="10216" y="42767"/>
                      <a:pt x="15200" y="48299"/>
                      <a:pt x="25170" y="48299"/>
                    </a:cubicBezTo>
                    <a:cubicBezTo>
                      <a:pt x="35139" y="48299"/>
                      <a:pt x="40123" y="42767"/>
                      <a:pt x="40123" y="31701"/>
                    </a:cubicBezTo>
                    <a:lnTo>
                      <a:pt x="40123" y="0"/>
                    </a:lnTo>
                    <a:lnTo>
                      <a:pt x="50591" y="0"/>
                    </a:lnTo>
                    <a:lnTo>
                      <a:pt x="50591" y="32000"/>
                    </a:lnTo>
                    <a:cubicBezTo>
                      <a:pt x="51012" y="38954"/>
                      <a:pt x="48645" y="45787"/>
                      <a:pt x="44011" y="50991"/>
                    </a:cubicBezTo>
                    <a:cubicBezTo>
                      <a:pt x="33364" y="59739"/>
                      <a:pt x="18022" y="59739"/>
                      <a:pt x="7375" y="5099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6714A93C-1242-4DD6-1D8A-169335996209}"/>
                  </a:ext>
                </a:extLst>
              </p:cNvPr>
              <p:cNvSpPr/>
              <p:nvPr/>
            </p:nvSpPr>
            <p:spPr>
              <a:xfrm>
                <a:off x="3518152" y="3500316"/>
                <a:ext cx="55792" cy="56988"/>
              </a:xfrm>
              <a:custGeom>
                <a:avLst/>
                <a:gdLst>
                  <a:gd name="connsiteX0" fmla="*/ 0 w 55792"/>
                  <a:gd name="connsiteY0" fmla="*/ 8 h 56988"/>
                  <a:gd name="connsiteX1" fmla="*/ 24823 w 55792"/>
                  <a:gd name="connsiteY1" fmla="*/ 8 h 56988"/>
                  <a:gd name="connsiteX2" fmla="*/ 40972 w 55792"/>
                  <a:gd name="connsiteY2" fmla="*/ 3597 h 56988"/>
                  <a:gd name="connsiteX3" fmla="*/ 51888 w 55792"/>
                  <a:gd name="connsiteY3" fmla="*/ 13466 h 56988"/>
                  <a:gd name="connsiteX4" fmla="*/ 55776 w 55792"/>
                  <a:gd name="connsiteY4" fmla="*/ 28420 h 56988"/>
                  <a:gd name="connsiteX5" fmla="*/ 51888 w 55792"/>
                  <a:gd name="connsiteY5" fmla="*/ 43373 h 56988"/>
                  <a:gd name="connsiteX6" fmla="*/ 40972 w 55792"/>
                  <a:gd name="connsiteY6" fmla="*/ 53392 h 56988"/>
                  <a:gd name="connsiteX7" fmla="*/ 24823 w 55792"/>
                  <a:gd name="connsiteY7" fmla="*/ 56980 h 56988"/>
                  <a:gd name="connsiteX8" fmla="*/ 0 w 55792"/>
                  <a:gd name="connsiteY8" fmla="*/ 56980 h 56988"/>
                  <a:gd name="connsiteX9" fmla="*/ 24374 w 55792"/>
                  <a:gd name="connsiteY9" fmla="*/ 47859 h 56988"/>
                  <a:gd name="connsiteX10" fmla="*/ 35290 w 55792"/>
                  <a:gd name="connsiteY10" fmla="*/ 45466 h 56988"/>
                  <a:gd name="connsiteX11" fmla="*/ 42617 w 55792"/>
                  <a:gd name="connsiteY11" fmla="*/ 38588 h 56988"/>
                  <a:gd name="connsiteX12" fmla="*/ 45159 w 55792"/>
                  <a:gd name="connsiteY12" fmla="*/ 28420 h 56988"/>
                  <a:gd name="connsiteX13" fmla="*/ 42617 w 55792"/>
                  <a:gd name="connsiteY13" fmla="*/ 18102 h 56988"/>
                  <a:gd name="connsiteX14" fmla="*/ 35290 w 55792"/>
                  <a:gd name="connsiteY14" fmla="*/ 11373 h 56988"/>
                  <a:gd name="connsiteX15" fmla="*/ 24374 w 55792"/>
                  <a:gd name="connsiteY15" fmla="*/ 8980 h 56988"/>
                  <a:gd name="connsiteX16" fmla="*/ 10617 w 55792"/>
                  <a:gd name="connsiteY16" fmla="*/ 8980 h 56988"/>
                  <a:gd name="connsiteX17" fmla="*/ 10617 w 55792"/>
                  <a:gd name="connsiteY17" fmla="*/ 47859 h 5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792" h="56988">
                    <a:moveTo>
                      <a:pt x="0" y="8"/>
                    </a:moveTo>
                    <a:lnTo>
                      <a:pt x="24823" y="8"/>
                    </a:lnTo>
                    <a:cubicBezTo>
                      <a:pt x="30417" y="-112"/>
                      <a:pt x="35957" y="1115"/>
                      <a:pt x="40972" y="3597"/>
                    </a:cubicBezTo>
                    <a:cubicBezTo>
                      <a:pt x="45490" y="5765"/>
                      <a:pt x="49282" y="9189"/>
                      <a:pt x="51888" y="13466"/>
                    </a:cubicBezTo>
                    <a:cubicBezTo>
                      <a:pt x="54586" y="17982"/>
                      <a:pt x="55935" y="23171"/>
                      <a:pt x="55776" y="28420"/>
                    </a:cubicBezTo>
                    <a:cubicBezTo>
                      <a:pt x="55960" y="33683"/>
                      <a:pt x="54610" y="38872"/>
                      <a:pt x="51888" y="43373"/>
                    </a:cubicBezTo>
                    <a:cubicBezTo>
                      <a:pt x="49291" y="47694"/>
                      <a:pt x="45500" y="51179"/>
                      <a:pt x="40972" y="53392"/>
                    </a:cubicBezTo>
                    <a:cubicBezTo>
                      <a:pt x="35957" y="55874"/>
                      <a:pt x="30417" y="57100"/>
                      <a:pt x="24823" y="56980"/>
                    </a:cubicBezTo>
                    <a:lnTo>
                      <a:pt x="0" y="56980"/>
                    </a:lnTo>
                    <a:close/>
                    <a:moveTo>
                      <a:pt x="24374" y="47859"/>
                    </a:moveTo>
                    <a:cubicBezTo>
                      <a:pt x="28154" y="47964"/>
                      <a:pt x="31903" y="47141"/>
                      <a:pt x="35290" y="45466"/>
                    </a:cubicBezTo>
                    <a:cubicBezTo>
                      <a:pt x="38396" y="44001"/>
                      <a:pt x="40960" y="41593"/>
                      <a:pt x="42617" y="38588"/>
                    </a:cubicBezTo>
                    <a:cubicBezTo>
                      <a:pt x="44418" y="35507"/>
                      <a:pt x="45298" y="31978"/>
                      <a:pt x="45159" y="28420"/>
                    </a:cubicBezTo>
                    <a:cubicBezTo>
                      <a:pt x="45279" y="24816"/>
                      <a:pt x="44400" y="21242"/>
                      <a:pt x="42617" y="18102"/>
                    </a:cubicBezTo>
                    <a:cubicBezTo>
                      <a:pt x="40905" y="15171"/>
                      <a:pt x="38353" y="12823"/>
                      <a:pt x="35290" y="11373"/>
                    </a:cubicBezTo>
                    <a:cubicBezTo>
                      <a:pt x="31903" y="9698"/>
                      <a:pt x="28154" y="8875"/>
                      <a:pt x="24374" y="8980"/>
                    </a:cubicBezTo>
                    <a:lnTo>
                      <a:pt x="10617" y="8980"/>
                    </a:lnTo>
                    <a:lnTo>
                      <a:pt x="10617" y="47859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E1DD008C-54B4-0837-91B6-713D05B88C75}"/>
                  </a:ext>
                </a:extLst>
              </p:cNvPr>
              <p:cNvSpPr/>
              <p:nvPr/>
            </p:nvSpPr>
            <p:spPr>
              <a:xfrm>
                <a:off x="3619386" y="3500324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518B518E-EFCD-FBA4-2EF9-A8AE1FEE755D}"/>
                  </a:ext>
                </a:extLst>
              </p:cNvPr>
              <p:cNvSpPr/>
              <p:nvPr/>
            </p:nvSpPr>
            <p:spPr>
              <a:xfrm>
                <a:off x="3672770" y="3500324"/>
                <a:ext cx="48150" cy="56822"/>
              </a:xfrm>
              <a:custGeom>
                <a:avLst/>
                <a:gdLst>
                  <a:gd name="connsiteX0" fmla="*/ 18841 w 48150"/>
                  <a:gd name="connsiteY0" fmla="*/ 8972 h 56822"/>
                  <a:gd name="connsiteX1" fmla="*/ 0 w 48150"/>
                  <a:gd name="connsiteY1" fmla="*/ 8972 h 56822"/>
                  <a:gd name="connsiteX2" fmla="*/ 0 w 48150"/>
                  <a:gd name="connsiteY2" fmla="*/ 0 h 56822"/>
                  <a:gd name="connsiteX3" fmla="*/ 48150 w 48150"/>
                  <a:gd name="connsiteY3" fmla="*/ 0 h 56822"/>
                  <a:gd name="connsiteX4" fmla="*/ 48150 w 48150"/>
                  <a:gd name="connsiteY4" fmla="*/ 8972 h 56822"/>
                  <a:gd name="connsiteX5" fmla="*/ 29458 w 48150"/>
                  <a:gd name="connsiteY5" fmla="*/ 8972 h 56822"/>
                  <a:gd name="connsiteX6" fmla="*/ 29458 w 48150"/>
                  <a:gd name="connsiteY6" fmla="*/ 56823 h 56822"/>
                  <a:gd name="connsiteX7" fmla="*/ 18841 w 48150"/>
                  <a:gd name="connsiteY7" fmla="*/ 56823 h 56822"/>
                  <a:gd name="connsiteX8" fmla="*/ 18841 w 48150"/>
                  <a:gd name="connsiteY8" fmla="*/ 8972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822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458" y="8972"/>
                    </a:lnTo>
                    <a:lnTo>
                      <a:pt x="29458" y="56823"/>
                    </a:lnTo>
                    <a:lnTo>
                      <a:pt x="18841" y="5682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6EED4BBC-4EB6-1552-6AFF-F984A958E9C4}"/>
                  </a:ext>
                </a:extLst>
              </p:cNvPr>
              <p:cNvSpPr/>
              <p:nvPr/>
            </p:nvSpPr>
            <p:spPr>
              <a:xfrm>
                <a:off x="2710677" y="2758913"/>
                <a:ext cx="343610" cy="330367"/>
              </a:xfrm>
              <a:custGeom>
                <a:avLst/>
                <a:gdLst>
                  <a:gd name="connsiteX0" fmla="*/ 83281 w 343610"/>
                  <a:gd name="connsiteY0" fmla="*/ 309258 h 330367"/>
                  <a:gd name="connsiteX1" fmla="*/ 21972 w 343610"/>
                  <a:gd name="connsiteY1" fmla="*/ 250341 h 330367"/>
                  <a:gd name="connsiteX2" fmla="*/ 21972 w 343610"/>
                  <a:gd name="connsiteY2" fmla="*/ 79723 h 330367"/>
                  <a:gd name="connsiteX3" fmla="*/ 83281 w 343610"/>
                  <a:gd name="connsiteY3" fmla="*/ 21255 h 330367"/>
                  <a:gd name="connsiteX4" fmla="*/ 171506 w 343610"/>
                  <a:gd name="connsiteY4" fmla="*/ 21 h 330367"/>
                  <a:gd name="connsiteX5" fmla="*/ 260180 w 343610"/>
                  <a:gd name="connsiteY5" fmla="*/ 21255 h 330367"/>
                  <a:gd name="connsiteX6" fmla="*/ 321489 w 343610"/>
                  <a:gd name="connsiteY6" fmla="*/ 79723 h 330367"/>
                  <a:gd name="connsiteX7" fmla="*/ 321489 w 343610"/>
                  <a:gd name="connsiteY7" fmla="*/ 250341 h 330367"/>
                  <a:gd name="connsiteX8" fmla="*/ 260180 w 343610"/>
                  <a:gd name="connsiteY8" fmla="*/ 309258 h 330367"/>
                  <a:gd name="connsiteX9" fmla="*/ 171506 w 343610"/>
                  <a:gd name="connsiteY9" fmla="*/ 330342 h 330367"/>
                  <a:gd name="connsiteX10" fmla="*/ 83281 w 343610"/>
                  <a:gd name="connsiteY10" fmla="*/ 309258 h 330367"/>
                  <a:gd name="connsiteX11" fmla="*/ 240292 w 343610"/>
                  <a:gd name="connsiteY11" fmla="*/ 237930 h 330367"/>
                  <a:gd name="connsiteX12" fmla="*/ 240292 w 343610"/>
                  <a:gd name="connsiteY12" fmla="*/ 91835 h 330367"/>
                  <a:gd name="connsiteX13" fmla="*/ 171506 w 343610"/>
                  <a:gd name="connsiteY13" fmla="*/ 63573 h 330367"/>
                  <a:gd name="connsiteX14" fmla="*/ 103019 w 343610"/>
                  <a:gd name="connsiteY14" fmla="*/ 91386 h 330367"/>
                  <a:gd name="connsiteX15" fmla="*/ 103019 w 343610"/>
                  <a:gd name="connsiteY15" fmla="*/ 237481 h 330367"/>
                  <a:gd name="connsiteX16" fmla="*/ 171506 w 343610"/>
                  <a:gd name="connsiteY16" fmla="*/ 265294 h 330367"/>
                  <a:gd name="connsiteX17" fmla="*/ 240292 w 343610"/>
                  <a:gd name="connsiteY17" fmla="*/ 237481 h 33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43610" h="330367">
                    <a:moveTo>
                      <a:pt x="83281" y="309258"/>
                    </a:moveTo>
                    <a:cubicBezTo>
                      <a:pt x="57749" y="295722"/>
                      <a:pt x="36513" y="275313"/>
                      <a:pt x="21972" y="250341"/>
                    </a:cubicBezTo>
                    <a:cubicBezTo>
                      <a:pt x="-7324" y="197242"/>
                      <a:pt x="-7324" y="132822"/>
                      <a:pt x="21972" y="79723"/>
                    </a:cubicBezTo>
                    <a:cubicBezTo>
                      <a:pt x="36622" y="54949"/>
                      <a:pt x="57841" y="34714"/>
                      <a:pt x="83281" y="21255"/>
                    </a:cubicBezTo>
                    <a:cubicBezTo>
                      <a:pt x="110450" y="6907"/>
                      <a:pt x="140784" y="-393"/>
                      <a:pt x="171506" y="21"/>
                    </a:cubicBezTo>
                    <a:cubicBezTo>
                      <a:pt x="202376" y="-443"/>
                      <a:pt x="232867" y="6857"/>
                      <a:pt x="260180" y="21255"/>
                    </a:cubicBezTo>
                    <a:cubicBezTo>
                      <a:pt x="285651" y="34669"/>
                      <a:pt x="306882" y="54915"/>
                      <a:pt x="321489" y="79723"/>
                    </a:cubicBezTo>
                    <a:cubicBezTo>
                      <a:pt x="350984" y="132771"/>
                      <a:pt x="350984" y="197292"/>
                      <a:pt x="321489" y="250341"/>
                    </a:cubicBezTo>
                    <a:cubicBezTo>
                      <a:pt x="306985" y="275343"/>
                      <a:pt x="285740" y="295761"/>
                      <a:pt x="260180" y="309258"/>
                    </a:cubicBezTo>
                    <a:cubicBezTo>
                      <a:pt x="232857" y="323608"/>
                      <a:pt x="202364" y="330858"/>
                      <a:pt x="171506" y="330342"/>
                    </a:cubicBezTo>
                    <a:cubicBezTo>
                      <a:pt x="140797" y="330802"/>
                      <a:pt x="110463" y="323553"/>
                      <a:pt x="83281" y="309258"/>
                    </a:cubicBezTo>
                    <a:moveTo>
                      <a:pt x="240292" y="237930"/>
                    </a:moveTo>
                    <a:cubicBezTo>
                      <a:pt x="276552" y="195981"/>
                      <a:pt x="276552" y="133784"/>
                      <a:pt x="240292" y="91835"/>
                    </a:cubicBezTo>
                    <a:cubicBezTo>
                      <a:pt x="222364" y="73151"/>
                      <a:pt x="197390" y="62889"/>
                      <a:pt x="171506" y="63573"/>
                    </a:cubicBezTo>
                    <a:cubicBezTo>
                      <a:pt x="145765" y="62707"/>
                      <a:pt x="120868" y="72819"/>
                      <a:pt x="103019" y="91386"/>
                    </a:cubicBezTo>
                    <a:cubicBezTo>
                      <a:pt x="67139" y="133476"/>
                      <a:pt x="67139" y="195392"/>
                      <a:pt x="103019" y="237481"/>
                    </a:cubicBezTo>
                    <a:cubicBezTo>
                      <a:pt x="120868" y="256049"/>
                      <a:pt x="145765" y="266160"/>
                      <a:pt x="171506" y="265294"/>
                    </a:cubicBezTo>
                    <a:cubicBezTo>
                      <a:pt x="197323" y="266095"/>
                      <a:pt x="222286" y="256001"/>
                      <a:pt x="240292" y="23748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19E887B2-8585-A0C7-0A49-6E3AB421EF89}"/>
                  </a:ext>
                </a:extLst>
              </p:cNvPr>
              <p:cNvSpPr/>
              <p:nvPr/>
            </p:nvSpPr>
            <p:spPr>
              <a:xfrm>
                <a:off x="3151494" y="2758895"/>
                <a:ext cx="537874" cy="326173"/>
              </a:xfrm>
              <a:custGeom>
                <a:avLst/>
                <a:gdLst>
                  <a:gd name="connsiteX0" fmla="*/ 502285 w 537874"/>
                  <a:gd name="connsiteY0" fmla="*/ 35479 h 326173"/>
                  <a:gd name="connsiteX1" fmla="*/ 537874 w 537874"/>
                  <a:gd name="connsiteY1" fmla="*/ 141349 h 326173"/>
                  <a:gd name="connsiteX2" fmla="*/ 537874 w 537874"/>
                  <a:gd name="connsiteY2" fmla="*/ 326173 h 326173"/>
                  <a:gd name="connsiteX3" fmla="*/ 463107 w 537874"/>
                  <a:gd name="connsiteY3" fmla="*/ 326173 h 326173"/>
                  <a:gd name="connsiteX4" fmla="*/ 463107 w 537874"/>
                  <a:gd name="connsiteY4" fmla="*/ 151068 h 326173"/>
                  <a:gd name="connsiteX5" fmla="*/ 444415 w 537874"/>
                  <a:gd name="connsiteY5" fmla="*/ 87367 h 326173"/>
                  <a:gd name="connsiteX6" fmla="*/ 390583 w 537874"/>
                  <a:gd name="connsiteY6" fmla="*/ 65984 h 326173"/>
                  <a:gd name="connsiteX7" fmla="*/ 329573 w 537874"/>
                  <a:gd name="connsiteY7" fmla="*/ 90956 h 326173"/>
                  <a:gd name="connsiteX8" fmla="*/ 306844 w 537874"/>
                  <a:gd name="connsiteY8" fmla="*/ 162583 h 326173"/>
                  <a:gd name="connsiteX9" fmla="*/ 306844 w 537874"/>
                  <a:gd name="connsiteY9" fmla="*/ 326173 h 326173"/>
                  <a:gd name="connsiteX10" fmla="*/ 230582 w 537874"/>
                  <a:gd name="connsiteY10" fmla="*/ 326173 h 326173"/>
                  <a:gd name="connsiteX11" fmla="*/ 230582 w 537874"/>
                  <a:gd name="connsiteY11" fmla="*/ 151068 h 326173"/>
                  <a:gd name="connsiteX12" fmla="*/ 211890 w 537874"/>
                  <a:gd name="connsiteY12" fmla="*/ 87367 h 326173"/>
                  <a:gd name="connsiteX13" fmla="*/ 158207 w 537874"/>
                  <a:gd name="connsiteY13" fmla="*/ 65984 h 326173"/>
                  <a:gd name="connsiteX14" fmla="*/ 97496 w 537874"/>
                  <a:gd name="connsiteY14" fmla="*/ 90657 h 326173"/>
                  <a:gd name="connsiteX15" fmla="*/ 74767 w 537874"/>
                  <a:gd name="connsiteY15" fmla="*/ 162583 h 326173"/>
                  <a:gd name="connsiteX16" fmla="*/ 74767 w 537874"/>
                  <a:gd name="connsiteY16" fmla="*/ 326173 h 326173"/>
                  <a:gd name="connsiteX17" fmla="*/ 0 w 537874"/>
                  <a:gd name="connsiteY17" fmla="*/ 326173 h 326173"/>
                  <a:gd name="connsiteX18" fmla="*/ 0 w 537874"/>
                  <a:gd name="connsiteY18" fmla="*/ 3777 h 326173"/>
                  <a:gd name="connsiteX19" fmla="*/ 71776 w 537874"/>
                  <a:gd name="connsiteY19" fmla="*/ 3777 h 326173"/>
                  <a:gd name="connsiteX20" fmla="*/ 71776 w 537874"/>
                  <a:gd name="connsiteY20" fmla="*/ 44750 h 326173"/>
                  <a:gd name="connsiteX21" fmla="*/ 116637 w 537874"/>
                  <a:gd name="connsiteY21" fmla="*/ 11553 h 326173"/>
                  <a:gd name="connsiteX22" fmla="*/ 176450 w 537874"/>
                  <a:gd name="connsiteY22" fmla="*/ 188 h 326173"/>
                  <a:gd name="connsiteX23" fmla="*/ 240750 w 537874"/>
                  <a:gd name="connsiteY23" fmla="*/ 13647 h 326173"/>
                  <a:gd name="connsiteX24" fmla="*/ 285610 w 537874"/>
                  <a:gd name="connsiteY24" fmla="*/ 53871 h 326173"/>
                  <a:gd name="connsiteX25" fmla="*/ 336751 w 537874"/>
                  <a:gd name="connsiteY25" fmla="*/ 14245 h 326173"/>
                  <a:gd name="connsiteX26" fmla="*/ 406135 w 537874"/>
                  <a:gd name="connsiteY26" fmla="*/ 188 h 326173"/>
                  <a:gd name="connsiteX27" fmla="*/ 502734 w 537874"/>
                  <a:gd name="connsiteY27" fmla="*/ 35479 h 326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7874" h="326173">
                    <a:moveTo>
                      <a:pt x="502285" y="35479"/>
                    </a:moveTo>
                    <a:cubicBezTo>
                      <a:pt x="526012" y="58906"/>
                      <a:pt x="537874" y="94196"/>
                      <a:pt x="537874" y="141349"/>
                    </a:cubicBezTo>
                    <a:lnTo>
                      <a:pt x="537874" y="326173"/>
                    </a:lnTo>
                    <a:lnTo>
                      <a:pt x="463107" y="326173"/>
                    </a:lnTo>
                    <a:lnTo>
                      <a:pt x="463107" y="151068"/>
                    </a:lnTo>
                    <a:cubicBezTo>
                      <a:pt x="464745" y="128278"/>
                      <a:pt x="458108" y="105659"/>
                      <a:pt x="444415" y="87367"/>
                    </a:cubicBezTo>
                    <a:cubicBezTo>
                      <a:pt x="430589" y="72521"/>
                      <a:pt x="410827" y="64672"/>
                      <a:pt x="390583" y="65984"/>
                    </a:cubicBezTo>
                    <a:cubicBezTo>
                      <a:pt x="367589" y="65073"/>
                      <a:pt x="345330" y="74184"/>
                      <a:pt x="329573" y="90956"/>
                    </a:cubicBezTo>
                    <a:cubicBezTo>
                      <a:pt x="313210" y="111097"/>
                      <a:pt x="305087" y="136691"/>
                      <a:pt x="306844" y="162583"/>
                    </a:cubicBezTo>
                    <a:lnTo>
                      <a:pt x="306844" y="326173"/>
                    </a:lnTo>
                    <a:lnTo>
                      <a:pt x="230582" y="326173"/>
                    </a:lnTo>
                    <a:lnTo>
                      <a:pt x="230582" y="151068"/>
                    </a:lnTo>
                    <a:cubicBezTo>
                      <a:pt x="232219" y="128278"/>
                      <a:pt x="225583" y="105659"/>
                      <a:pt x="211890" y="87367"/>
                    </a:cubicBezTo>
                    <a:cubicBezTo>
                      <a:pt x="198122" y="72527"/>
                      <a:pt x="178406" y="64674"/>
                      <a:pt x="158207" y="65984"/>
                    </a:cubicBezTo>
                    <a:cubicBezTo>
                      <a:pt x="135351" y="65025"/>
                      <a:pt x="113203" y="74025"/>
                      <a:pt x="97496" y="90657"/>
                    </a:cubicBezTo>
                    <a:cubicBezTo>
                      <a:pt x="81113" y="110904"/>
                      <a:pt x="72994" y="136598"/>
                      <a:pt x="74767" y="162583"/>
                    </a:cubicBezTo>
                    <a:lnTo>
                      <a:pt x="74767" y="326173"/>
                    </a:lnTo>
                    <a:lnTo>
                      <a:pt x="0" y="326173"/>
                    </a:lnTo>
                    <a:lnTo>
                      <a:pt x="0" y="3777"/>
                    </a:lnTo>
                    <a:lnTo>
                      <a:pt x="71776" y="3777"/>
                    </a:lnTo>
                    <a:lnTo>
                      <a:pt x="71776" y="44750"/>
                    </a:lnTo>
                    <a:cubicBezTo>
                      <a:pt x="83848" y="30243"/>
                      <a:pt x="99235" y="18856"/>
                      <a:pt x="116637" y="11553"/>
                    </a:cubicBezTo>
                    <a:cubicBezTo>
                      <a:pt x="135621" y="3827"/>
                      <a:pt x="155955" y="-37"/>
                      <a:pt x="176450" y="188"/>
                    </a:cubicBezTo>
                    <a:cubicBezTo>
                      <a:pt x="198623" y="-229"/>
                      <a:pt x="220605" y="4372"/>
                      <a:pt x="240750" y="13647"/>
                    </a:cubicBezTo>
                    <a:cubicBezTo>
                      <a:pt x="259322" y="22367"/>
                      <a:pt x="274923" y="36356"/>
                      <a:pt x="285610" y="53871"/>
                    </a:cubicBezTo>
                    <a:cubicBezTo>
                      <a:pt x="299182" y="36700"/>
                      <a:pt x="316736" y="23099"/>
                      <a:pt x="336751" y="14245"/>
                    </a:cubicBezTo>
                    <a:cubicBezTo>
                      <a:pt x="358611" y="4664"/>
                      <a:pt x="382269" y="-129"/>
                      <a:pt x="406135" y="188"/>
                    </a:cubicBezTo>
                    <a:cubicBezTo>
                      <a:pt x="441802" y="-1727"/>
                      <a:pt x="476701" y="11024"/>
                      <a:pt x="502734" y="35479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81135E9F-B070-ACED-0D67-22E606498FE5}"/>
                  </a:ext>
                </a:extLst>
              </p:cNvPr>
              <p:cNvSpPr/>
              <p:nvPr/>
            </p:nvSpPr>
            <p:spPr>
              <a:xfrm>
                <a:off x="3786418" y="2759803"/>
                <a:ext cx="329909" cy="330202"/>
              </a:xfrm>
              <a:custGeom>
                <a:avLst/>
                <a:gdLst>
                  <a:gd name="connsiteX0" fmla="*/ 328076 w 329909"/>
                  <a:gd name="connsiteY0" fmla="*/ 188142 h 330202"/>
                  <a:gd name="connsiteX1" fmla="*/ 75663 w 329909"/>
                  <a:gd name="connsiteY1" fmla="*/ 188142 h 330202"/>
                  <a:gd name="connsiteX2" fmla="*/ 110355 w 329909"/>
                  <a:gd name="connsiteY2" fmla="*/ 244666 h 330202"/>
                  <a:gd name="connsiteX3" fmla="*/ 180337 w 329909"/>
                  <a:gd name="connsiteY3" fmla="*/ 265451 h 330202"/>
                  <a:gd name="connsiteX4" fmla="*/ 267814 w 329909"/>
                  <a:gd name="connsiteY4" fmla="*/ 230460 h 330202"/>
                  <a:gd name="connsiteX5" fmla="*/ 308338 w 329909"/>
                  <a:gd name="connsiteY5" fmla="*/ 276965 h 330202"/>
                  <a:gd name="connsiteX6" fmla="*/ 252562 w 329909"/>
                  <a:gd name="connsiteY6" fmla="*/ 316891 h 330202"/>
                  <a:gd name="connsiteX7" fmla="*/ 84186 w 329909"/>
                  <a:gd name="connsiteY7" fmla="*/ 309115 h 330202"/>
                  <a:gd name="connsiteX8" fmla="*/ 21681 w 329909"/>
                  <a:gd name="connsiteY8" fmla="*/ 250199 h 330202"/>
                  <a:gd name="connsiteX9" fmla="*/ 21681 w 329909"/>
                  <a:gd name="connsiteY9" fmla="*/ 80029 h 330202"/>
                  <a:gd name="connsiteX10" fmla="*/ 81495 w 329909"/>
                  <a:gd name="connsiteY10" fmla="*/ 21112 h 330202"/>
                  <a:gd name="connsiteX11" fmla="*/ 167178 w 329909"/>
                  <a:gd name="connsiteY11" fmla="*/ 28 h 330202"/>
                  <a:gd name="connsiteX12" fmla="*/ 251365 w 329909"/>
                  <a:gd name="connsiteY12" fmla="*/ 20813 h 330202"/>
                  <a:gd name="connsiteX13" fmla="*/ 309385 w 329909"/>
                  <a:gd name="connsiteY13" fmla="*/ 79431 h 330202"/>
                  <a:gd name="connsiteX14" fmla="*/ 329871 w 329909"/>
                  <a:gd name="connsiteY14" fmla="*/ 165861 h 330202"/>
                  <a:gd name="connsiteX15" fmla="*/ 328674 w 329909"/>
                  <a:gd name="connsiteY15" fmla="*/ 188142 h 330202"/>
                  <a:gd name="connsiteX16" fmla="*/ 105570 w 329909"/>
                  <a:gd name="connsiteY16" fmla="*/ 81075 h 330202"/>
                  <a:gd name="connsiteX17" fmla="*/ 75663 w 329909"/>
                  <a:gd name="connsiteY17" fmla="*/ 138048 h 330202"/>
                  <a:gd name="connsiteX18" fmla="*/ 257496 w 329909"/>
                  <a:gd name="connsiteY18" fmla="*/ 138048 h 330202"/>
                  <a:gd name="connsiteX19" fmla="*/ 166280 w 329909"/>
                  <a:gd name="connsiteY19" fmla="*/ 59542 h 330202"/>
                  <a:gd name="connsiteX20" fmla="*/ 105570 w 329909"/>
                  <a:gd name="connsiteY20" fmla="*/ 81075 h 330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29909" h="330202">
                    <a:moveTo>
                      <a:pt x="328076" y="188142"/>
                    </a:moveTo>
                    <a:lnTo>
                      <a:pt x="75663" y="188142"/>
                    </a:lnTo>
                    <a:cubicBezTo>
                      <a:pt x="79420" y="210784"/>
                      <a:pt x="91868" y="231064"/>
                      <a:pt x="110355" y="244666"/>
                    </a:cubicBezTo>
                    <a:cubicBezTo>
                      <a:pt x="130777" y="259072"/>
                      <a:pt x="155363" y="266374"/>
                      <a:pt x="180337" y="265451"/>
                    </a:cubicBezTo>
                    <a:cubicBezTo>
                      <a:pt x="213106" y="266532"/>
                      <a:pt x="244831" y="253843"/>
                      <a:pt x="267814" y="230460"/>
                    </a:cubicBezTo>
                    <a:lnTo>
                      <a:pt x="308338" y="276965"/>
                    </a:lnTo>
                    <a:cubicBezTo>
                      <a:pt x="293465" y="294823"/>
                      <a:pt x="274260" y="308569"/>
                      <a:pt x="252562" y="316891"/>
                    </a:cubicBezTo>
                    <a:cubicBezTo>
                      <a:pt x="197672" y="337027"/>
                      <a:pt x="136987" y="334225"/>
                      <a:pt x="84186" y="309115"/>
                    </a:cubicBezTo>
                    <a:cubicBezTo>
                      <a:pt x="58103" y="295919"/>
                      <a:pt x="36395" y="275456"/>
                      <a:pt x="21681" y="250199"/>
                    </a:cubicBezTo>
                    <a:cubicBezTo>
                      <a:pt x="-7227" y="197159"/>
                      <a:pt x="-7227" y="133068"/>
                      <a:pt x="21681" y="80029"/>
                    </a:cubicBezTo>
                    <a:cubicBezTo>
                      <a:pt x="35624" y="55112"/>
                      <a:pt x="56370" y="34676"/>
                      <a:pt x="81495" y="21112"/>
                    </a:cubicBezTo>
                    <a:cubicBezTo>
                      <a:pt x="107757" y="6809"/>
                      <a:pt x="137275" y="-454"/>
                      <a:pt x="167178" y="28"/>
                    </a:cubicBezTo>
                    <a:cubicBezTo>
                      <a:pt x="196573" y="-506"/>
                      <a:pt x="225596" y="6660"/>
                      <a:pt x="251365" y="20813"/>
                    </a:cubicBezTo>
                    <a:cubicBezTo>
                      <a:pt x="275908" y="34409"/>
                      <a:pt x="296042" y="54750"/>
                      <a:pt x="309385" y="79431"/>
                    </a:cubicBezTo>
                    <a:cubicBezTo>
                      <a:pt x="323453" y="106030"/>
                      <a:pt x="330503" y="135778"/>
                      <a:pt x="329871" y="165861"/>
                    </a:cubicBezTo>
                    <a:cubicBezTo>
                      <a:pt x="329871" y="171095"/>
                      <a:pt x="329871" y="178572"/>
                      <a:pt x="328674" y="188142"/>
                    </a:cubicBezTo>
                    <a:moveTo>
                      <a:pt x="105570" y="81075"/>
                    </a:moveTo>
                    <a:cubicBezTo>
                      <a:pt x="88900" y="95715"/>
                      <a:pt x="78245" y="116013"/>
                      <a:pt x="75663" y="138048"/>
                    </a:cubicBezTo>
                    <a:lnTo>
                      <a:pt x="257496" y="138048"/>
                    </a:lnTo>
                    <a:cubicBezTo>
                      <a:pt x="252358" y="92021"/>
                      <a:pt x="212560" y="57768"/>
                      <a:pt x="166280" y="59542"/>
                    </a:cubicBezTo>
                    <a:cubicBezTo>
                      <a:pt x="144091" y="59056"/>
                      <a:pt x="122494" y="66717"/>
                      <a:pt x="105570" y="8107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EE9AAB53-6699-150F-A1B3-C88F87B981C8}"/>
                  </a:ext>
                </a:extLst>
              </p:cNvPr>
              <p:cNvSpPr/>
              <p:nvPr/>
            </p:nvSpPr>
            <p:spPr>
              <a:xfrm>
                <a:off x="4185076" y="2759044"/>
                <a:ext cx="313271" cy="329943"/>
              </a:xfrm>
              <a:custGeom>
                <a:avLst/>
                <a:gdLst>
                  <a:gd name="connsiteX0" fmla="*/ 84634 w 313271"/>
                  <a:gd name="connsiteY0" fmla="*/ 309127 h 329943"/>
                  <a:gd name="connsiteX1" fmla="*/ 22428 w 313271"/>
                  <a:gd name="connsiteY1" fmla="*/ 250210 h 329943"/>
                  <a:gd name="connsiteX2" fmla="*/ 22428 w 313271"/>
                  <a:gd name="connsiteY2" fmla="*/ 79592 h 329943"/>
                  <a:gd name="connsiteX3" fmla="*/ 84335 w 313271"/>
                  <a:gd name="connsiteY3" fmla="*/ 21124 h 329943"/>
                  <a:gd name="connsiteX4" fmla="*/ 174055 w 313271"/>
                  <a:gd name="connsiteY4" fmla="*/ 40 h 329943"/>
                  <a:gd name="connsiteX5" fmla="*/ 257645 w 313271"/>
                  <a:gd name="connsiteY5" fmla="*/ 19330 h 329943"/>
                  <a:gd name="connsiteX6" fmla="*/ 311627 w 313271"/>
                  <a:gd name="connsiteY6" fmla="*/ 74807 h 329943"/>
                  <a:gd name="connsiteX7" fmla="*/ 254206 w 313271"/>
                  <a:gd name="connsiteY7" fmla="*/ 108302 h 329943"/>
                  <a:gd name="connsiteX8" fmla="*/ 219514 w 313271"/>
                  <a:gd name="connsiteY8" fmla="*/ 74807 h 329943"/>
                  <a:gd name="connsiteX9" fmla="*/ 174654 w 313271"/>
                  <a:gd name="connsiteY9" fmla="*/ 63741 h 329943"/>
                  <a:gd name="connsiteX10" fmla="*/ 104672 w 313271"/>
                  <a:gd name="connsiteY10" fmla="*/ 91106 h 329943"/>
                  <a:gd name="connsiteX11" fmla="*/ 104672 w 313271"/>
                  <a:gd name="connsiteY11" fmla="*/ 237799 h 329943"/>
                  <a:gd name="connsiteX12" fmla="*/ 220561 w 313271"/>
                  <a:gd name="connsiteY12" fmla="*/ 254098 h 329943"/>
                  <a:gd name="connsiteX13" fmla="*/ 255253 w 313271"/>
                  <a:gd name="connsiteY13" fmla="*/ 220603 h 329943"/>
                  <a:gd name="connsiteX14" fmla="*/ 313272 w 313271"/>
                  <a:gd name="connsiteY14" fmla="*/ 254547 h 329943"/>
                  <a:gd name="connsiteX15" fmla="*/ 258692 w 313271"/>
                  <a:gd name="connsiteY15" fmla="*/ 310323 h 329943"/>
                  <a:gd name="connsiteX16" fmla="*/ 175700 w 313271"/>
                  <a:gd name="connsiteY16" fmla="*/ 329912 h 329943"/>
                  <a:gd name="connsiteX17" fmla="*/ 85980 w 313271"/>
                  <a:gd name="connsiteY17" fmla="*/ 308828 h 329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13271" h="329943">
                    <a:moveTo>
                      <a:pt x="84634" y="309127"/>
                    </a:moveTo>
                    <a:cubicBezTo>
                      <a:pt x="58765" y="295747"/>
                      <a:pt x="37187" y="275322"/>
                      <a:pt x="22428" y="250210"/>
                    </a:cubicBezTo>
                    <a:cubicBezTo>
                      <a:pt x="-7476" y="197268"/>
                      <a:pt x="-7476" y="132534"/>
                      <a:pt x="22428" y="79592"/>
                    </a:cubicBezTo>
                    <a:cubicBezTo>
                      <a:pt x="37217" y="54723"/>
                      <a:pt x="58660" y="34474"/>
                      <a:pt x="84335" y="21124"/>
                    </a:cubicBezTo>
                    <a:cubicBezTo>
                      <a:pt x="112044" y="6782"/>
                      <a:pt x="142863" y="-461"/>
                      <a:pt x="174055" y="40"/>
                    </a:cubicBezTo>
                    <a:cubicBezTo>
                      <a:pt x="203095" y="-579"/>
                      <a:pt x="231821" y="6050"/>
                      <a:pt x="257645" y="19330"/>
                    </a:cubicBezTo>
                    <a:cubicBezTo>
                      <a:pt x="281032" y="31678"/>
                      <a:pt x="299918" y="51092"/>
                      <a:pt x="311627" y="74807"/>
                    </a:cubicBezTo>
                    <a:lnTo>
                      <a:pt x="254206" y="108302"/>
                    </a:lnTo>
                    <a:cubicBezTo>
                      <a:pt x="245832" y="94246"/>
                      <a:pt x="233854" y="82681"/>
                      <a:pt x="219514" y="74807"/>
                    </a:cubicBezTo>
                    <a:cubicBezTo>
                      <a:pt x="205712" y="67457"/>
                      <a:pt x="190295" y="63655"/>
                      <a:pt x="174654" y="63741"/>
                    </a:cubicBezTo>
                    <a:cubicBezTo>
                      <a:pt x="148575" y="62941"/>
                      <a:pt x="123289" y="72826"/>
                      <a:pt x="104672" y="91106"/>
                    </a:cubicBezTo>
                    <a:cubicBezTo>
                      <a:pt x="67797" y="133055"/>
                      <a:pt x="67797" y="195852"/>
                      <a:pt x="104672" y="237799"/>
                    </a:cubicBezTo>
                    <a:cubicBezTo>
                      <a:pt x="135969" y="267187"/>
                      <a:pt x="182370" y="273713"/>
                      <a:pt x="220561" y="254098"/>
                    </a:cubicBezTo>
                    <a:cubicBezTo>
                      <a:pt x="234961" y="246308"/>
                      <a:pt x="246968" y="234725"/>
                      <a:pt x="255253" y="220603"/>
                    </a:cubicBezTo>
                    <a:lnTo>
                      <a:pt x="313272" y="254547"/>
                    </a:lnTo>
                    <a:cubicBezTo>
                      <a:pt x="301219" y="278286"/>
                      <a:pt x="282169" y="297755"/>
                      <a:pt x="258692" y="310323"/>
                    </a:cubicBezTo>
                    <a:cubicBezTo>
                      <a:pt x="233107" y="323723"/>
                      <a:pt x="204575" y="330459"/>
                      <a:pt x="175700" y="329912"/>
                    </a:cubicBezTo>
                    <a:cubicBezTo>
                      <a:pt x="144508" y="330395"/>
                      <a:pt x="113689" y="323152"/>
                      <a:pt x="85980" y="308828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06B82B62-EA5E-8762-3965-EBF46825FD98}"/>
                  </a:ext>
                </a:extLst>
              </p:cNvPr>
              <p:cNvSpPr/>
              <p:nvPr/>
            </p:nvSpPr>
            <p:spPr>
              <a:xfrm>
                <a:off x="4562888" y="2759231"/>
                <a:ext cx="293145" cy="330073"/>
              </a:xfrm>
              <a:custGeom>
                <a:avLst/>
                <a:gdLst>
                  <a:gd name="connsiteX0" fmla="*/ 255314 w 293145"/>
                  <a:gd name="connsiteY0" fmla="*/ 33348 h 330073"/>
                  <a:gd name="connsiteX1" fmla="*/ 293146 w 293145"/>
                  <a:gd name="connsiteY1" fmla="*/ 136227 h 330073"/>
                  <a:gd name="connsiteX2" fmla="*/ 293146 w 293145"/>
                  <a:gd name="connsiteY2" fmla="*/ 325837 h 330073"/>
                  <a:gd name="connsiteX3" fmla="*/ 221818 w 293145"/>
                  <a:gd name="connsiteY3" fmla="*/ 325837 h 330073"/>
                  <a:gd name="connsiteX4" fmla="*/ 221818 w 293145"/>
                  <a:gd name="connsiteY4" fmla="*/ 286509 h 330073"/>
                  <a:gd name="connsiteX5" fmla="*/ 182341 w 293145"/>
                  <a:gd name="connsiteY5" fmla="*/ 318809 h 330073"/>
                  <a:gd name="connsiteX6" fmla="*/ 120434 w 293145"/>
                  <a:gd name="connsiteY6" fmla="*/ 330024 h 330073"/>
                  <a:gd name="connsiteX7" fmla="*/ 57031 w 293145"/>
                  <a:gd name="connsiteY7" fmla="*/ 317613 h 330073"/>
                  <a:gd name="connsiteX8" fmla="*/ 15012 w 293145"/>
                  <a:gd name="connsiteY8" fmla="*/ 283220 h 330073"/>
                  <a:gd name="connsiteX9" fmla="*/ 59 w 293145"/>
                  <a:gd name="connsiteY9" fmla="*/ 233425 h 330073"/>
                  <a:gd name="connsiteX10" fmla="*/ 31910 w 293145"/>
                  <a:gd name="connsiteY10" fmla="*/ 163742 h 330073"/>
                  <a:gd name="connsiteX11" fmla="*/ 134341 w 293145"/>
                  <a:gd name="connsiteY11" fmla="*/ 138022 h 330073"/>
                  <a:gd name="connsiteX12" fmla="*/ 217631 w 293145"/>
                  <a:gd name="connsiteY12" fmla="*/ 138022 h 330073"/>
                  <a:gd name="connsiteX13" fmla="*/ 217631 w 293145"/>
                  <a:gd name="connsiteY13" fmla="*/ 133237 h 330073"/>
                  <a:gd name="connsiteX14" fmla="*/ 197444 w 293145"/>
                  <a:gd name="connsiteY14" fmla="*/ 81348 h 330073"/>
                  <a:gd name="connsiteX15" fmla="*/ 137630 w 293145"/>
                  <a:gd name="connsiteY15" fmla="*/ 63105 h 330073"/>
                  <a:gd name="connsiteX16" fmla="*/ 84247 w 293145"/>
                  <a:gd name="connsiteY16" fmla="*/ 71629 h 330073"/>
                  <a:gd name="connsiteX17" fmla="*/ 39386 w 293145"/>
                  <a:gd name="connsiteY17" fmla="*/ 95105 h 330073"/>
                  <a:gd name="connsiteX18" fmla="*/ 9480 w 293145"/>
                  <a:gd name="connsiteY18" fmla="*/ 40226 h 330073"/>
                  <a:gd name="connsiteX19" fmla="*/ 70490 w 293145"/>
                  <a:gd name="connsiteY19" fmla="*/ 10320 h 330073"/>
                  <a:gd name="connsiteX20" fmla="*/ 145257 w 293145"/>
                  <a:gd name="connsiteY20" fmla="*/ 2 h 330073"/>
                  <a:gd name="connsiteX21" fmla="*/ 254267 w 293145"/>
                  <a:gd name="connsiteY21" fmla="*/ 34245 h 330073"/>
                  <a:gd name="connsiteX22" fmla="*/ 185481 w 293145"/>
                  <a:gd name="connsiteY22" fmla="*/ 262434 h 330073"/>
                  <a:gd name="connsiteX23" fmla="*/ 216584 w 293145"/>
                  <a:gd name="connsiteY23" fmla="*/ 225350 h 330073"/>
                  <a:gd name="connsiteX24" fmla="*/ 216584 w 293145"/>
                  <a:gd name="connsiteY24" fmla="*/ 187518 h 330073"/>
                  <a:gd name="connsiteX25" fmla="*/ 138677 w 293145"/>
                  <a:gd name="connsiteY25" fmla="*/ 187518 h 330073"/>
                  <a:gd name="connsiteX26" fmla="*/ 73480 w 293145"/>
                  <a:gd name="connsiteY26" fmla="*/ 230434 h 330073"/>
                  <a:gd name="connsiteX27" fmla="*/ 89779 w 293145"/>
                  <a:gd name="connsiteY27" fmla="*/ 263032 h 330073"/>
                  <a:gd name="connsiteX28" fmla="*/ 134640 w 293145"/>
                  <a:gd name="connsiteY28" fmla="*/ 275145 h 330073"/>
                  <a:gd name="connsiteX29" fmla="*/ 185033 w 293145"/>
                  <a:gd name="connsiteY29" fmla="*/ 262135 h 33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93145" h="330073">
                    <a:moveTo>
                      <a:pt x="255314" y="33348"/>
                    </a:moveTo>
                    <a:cubicBezTo>
                      <a:pt x="280435" y="56077"/>
                      <a:pt x="293146" y="90320"/>
                      <a:pt x="293146" y="136227"/>
                    </a:cubicBezTo>
                    <a:lnTo>
                      <a:pt x="293146" y="325837"/>
                    </a:lnTo>
                    <a:lnTo>
                      <a:pt x="221818" y="325837"/>
                    </a:lnTo>
                    <a:lnTo>
                      <a:pt x="221818" y="286509"/>
                    </a:lnTo>
                    <a:cubicBezTo>
                      <a:pt x="212203" y="301002"/>
                      <a:pt x="198446" y="312259"/>
                      <a:pt x="182341" y="318809"/>
                    </a:cubicBezTo>
                    <a:cubicBezTo>
                      <a:pt x="162692" y="326746"/>
                      <a:pt x="141623" y="330564"/>
                      <a:pt x="120434" y="330024"/>
                    </a:cubicBezTo>
                    <a:cubicBezTo>
                      <a:pt x="98647" y="330556"/>
                      <a:pt x="77009" y="326320"/>
                      <a:pt x="57031" y="317613"/>
                    </a:cubicBezTo>
                    <a:cubicBezTo>
                      <a:pt x="40044" y="310374"/>
                      <a:pt x="25465" y="298444"/>
                      <a:pt x="15012" y="283220"/>
                    </a:cubicBezTo>
                    <a:cubicBezTo>
                      <a:pt x="5068" y="268532"/>
                      <a:pt x="-150" y="251159"/>
                      <a:pt x="59" y="233425"/>
                    </a:cubicBezTo>
                    <a:cubicBezTo>
                      <a:pt x="-943" y="206465"/>
                      <a:pt x="10870" y="180620"/>
                      <a:pt x="31910" y="163742"/>
                    </a:cubicBezTo>
                    <a:cubicBezTo>
                      <a:pt x="53846" y="146595"/>
                      <a:pt x="87985" y="138022"/>
                      <a:pt x="134341" y="138022"/>
                    </a:cubicBezTo>
                    <a:lnTo>
                      <a:pt x="217631" y="138022"/>
                    </a:lnTo>
                    <a:lnTo>
                      <a:pt x="217631" y="133237"/>
                    </a:lnTo>
                    <a:cubicBezTo>
                      <a:pt x="218917" y="113805"/>
                      <a:pt x="211515" y="94805"/>
                      <a:pt x="197444" y="81348"/>
                    </a:cubicBezTo>
                    <a:cubicBezTo>
                      <a:pt x="180427" y="68131"/>
                      <a:pt x="159133" y="61637"/>
                      <a:pt x="137630" y="63105"/>
                    </a:cubicBezTo>
                    <a:cubicBezTo>
                      <a:pt x="119492" y="63111"/>
                      <a:pt x="101473" y="65988"/>
                      <a:pt x="84247" y="71629"/>
                    </a:cubicBezTo>
                    <a:cubicBezTo>
                      <a:pt x="67903" y="76451"/>
                      <a:pt x="52665" y="84427"/>
                      <a:pt x="39386" y="95105"/>
                    </a:cubicBezTo>
                    <a:lnTo>
                      <a:pt x="9480" y="40226"/>
                    </a:lnTo>
                    <a:cubicBezTo>
                      <a:pt x="27783" y="26558"/>
                      <a:pt x="48478" y="16416"/>
                      <a:pt x="70490" y="10320"/>
                    </a:cubicBezTo>
                    <a:cubicBezTo>
                      <a:pt x="94804" y="3386"/>
                      <a:pt x="119970" y="-88"/>
                      <a:pt x="145257" y="2"/>
                    </a:cubicBezTo>
                    <a:cubicBezTo>
                      <a:pt x="192808" y="2"/>
                      <a:pt x="229145" y="11516"/>
                      <a:pt x="254267" y="34245"/>
                    </a:cubicBezTo>
                    <a:moveTo>
                      <a:pt x="185481" y="262434"/>
                    </a:moveTo>
                    <a:cubicBezTo>
                      <a:pt x="199881" y="254105"/>
                      <a:pt x="210887" y="240978"/>
                      <a:pt x="216584" y="225350"/>
                    </a:cubicBezTo>
                    <a:lnTo>
                      <a:pt x="216584" y="187518"/>
                    </a:lnTo>
                    <a:lnTo>
                      <a:pt x="138677" y="187518"/>
                    </a:lnTo>
                    <a:cubicBezTo>
                      <a:pt x="95208" y="187518"/>
                      <a:pt x="73480" y="201824"/>
                      <a:pt x="73480" y="230434"/>
                    </a:cubicBezTo>
                    <a:cubicBezTo>
                      <a:pt x="73091" y="243349"/>
                      <a:pt x="79207" y="255598"/>
                      <a:pt x="89779" y="263032"/>
                    </a:cubicBezTo>
                    <a:cubicBezTo>
                      <a:pt x="103073" y="271732"/>
                      <a:pt x="118774" y="275975"/>
                      <a:pt x="134640" y="275145"/>
                    </a:cubicBezTo>
                    <a:cubicBezTo>
                      <a:pt x="152300" y="275462"/>
                      <a:pt x="169720" y="270965"/>
                      <a:pt x="185033" y="26213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59FADEF6-2A51-CFC0-6A71-68D4FC350FBF}"/>
                  </a:ext>
                </a:extLst>
              </p:cNvPr>
              <p:cNvSpPr/>
              <p:nvPr/>
            </p:nvSpPr>
            <p:spPr>
              <a:xfrm>
                <a:off x="3326637" y="1790699"/>
                <a:ext cx="910578" cy="847644"/>
              </a:xfrm>
              <a:custGeom>
                <a:avLst/>
                <a:gdLst>
                  <a:gd name="connsiteX0" fmla="*/ 487892 w 910578"/>
                  <a:gd name="connsiteY0" fmla="*/ 1 h 847644"/>
                  <a:gd name="connsiteX1" fmla="*/ 65051 w 910578"/>
                  <a:gd name="connsiteY1" fmla="*/ 421130 h 847644"/>
                  <a:gd name="connsiteX2" fmla="*/ 146655 w 910578"/>
                  <a:gd name="connsiteY2" fmla="*/ 671410 h 847644"/>
                  <a:gd name="connsiteX3" fmla="*/ 12074 w 910578"/>
                  <a:gd name="connsiteY3" fmla="*/ 793729 h 847644"/>
                  <a:gd name="connsiteX4" fmla="*/ 5902 w 910578"/>
                  <a:gd name="connsiteY4" fmla="*/ 835571 h 847644"/>
                  <a:gd name="connsiteX5" fmla="*/ 47744 w 910578"/>
                  <a:gd name="connsiteY5" fmla="*/ 841743 h 847644"/>
                  <a:gd name="connsiteX6" fmla="*/ 52449 w 910578"/>
                  <a:gd name="connsiteY6" fmla="*/ 837393 h 847644"/>
                  <a:gd name="connsiteX7" fmla="*/ 185085 w 910578"/>
                  <a:gd name="connsiteY7" fmla="*/ 716719 h 847644"/>
                  <a:gd name="connsiteX8" fmla="*/ 782432 w 910578"/>
                  <a:gd name="connsiteY8" fmla="*/ 725499 h 847644"/>
                  <a:gd name="connsiteX9" fmla="*/ 791213 w 910578"/>
                  <a:gd name="connsiteY9" fmla="*/ 128152 h 847644"/>
                  <a:gd name="connsiteX10" fmla="*/ 487892 w 910578"/>
                  <a:gd name="connsiteY10" fmla="*/ 1 h 847644"/>
                  <a:gd name="connsiteX11" fmla="*/ 487892 w 910578"/>
                  <a:gd name="connsiteY11" fmla="*/ 786102 h 847644"/>
                  <a:gd name="connsiteX12" fmla="*/ 124225 w 910578"/>
                  <a:gd name="connsiteY12" fmla="*/ 422734 h 847644"/>
                  <a:gd name="connsiteX13" fmla="*/ 487593 w 910578"/>
                  <a:gd name="connsiteY13" fmla="*/ 59067 h 847644"/>
                  <a:gd name="connsiteX14" fmla="*/ 851260 w 910578"/>
                  <a:gd name="connsiteY14" fmla="*/ 422435 h 847644"/>
                  <a:gd name="connsiteX15" fmla="*/ 851260 w 910578"/>
                  <a:gd name="connsiteY15" fmla="*/ 422585 h 847644"/>
                  <a:gd name="connsiteX16" fmla="*/ 487892 w 910578"/>
                  <a:gd name="connsiteY16" fmla="*/ 786102 h 847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10578" h="847644">
                    <a:moveTo>
                      <a:pt x="487892" y="1"/>
                    </a:moveTo>
                    <a:cubicBezTo>
                      <a:pt x="254837" y="-472"/>
                      <a:pt x="65524" y="188075"/>
                      <a:pt x="65051" y="421130"/>
                    </a:cubicBezTo>
                    <a:cubicBezTo>
                      <a:pt x="64869" y="511124"/>
                      <a:pt x="93463" y="598818"/>
                      <a:pt x="146655" y="671410"/>
                    </a:cubicBezTo>
                    <a:lnTo>
                      <a:pt x="12074" y="793729"/>
                    </a:lnTo>
                    <a:cubicBezTo>
                      <a:pt x="-1185" y="803578"/>
                      <a:pt x="-3948" y="822312"/>
                      <a:pt x="5902" y="835571"/>
                    </a:cubicBezTo>
                    <a:cubicBezTo>
                      <a:pt x="15753" y="848829"/>
                      <a:pt x="34485" y="851592"/>
                      <a:pt x="47744" y="841743"/>
                    </a:cubicBezTo>
                    <a:cubicBezTo>
                      <a:pt x="49464" y="840466"/>
                      <a:pt x="51041" y="839008"/>
                      <a:pt x="52449" y="837393"/>
                    </a:cubicBezTo>
                    <a:lnTo>
                      <a:pt x="185085" y="716719"/>
                    </a:lnTo>
                    <a:cubicBezTo>
                      <a:pt x="347614" y="884097"/>
                      <a:pt x="615054" y="888028"/>
                      <a:pt x="782432" y="725499"/>
                    </a:cubicBezTo>
                    <a:cubicBezTo>
                      <a:pt x="949803" y="562970"/>
                      <a:pt x="953736" y="295530"/>
                      <a:pt x="791213" y="128152"/>
                    </a:cubicBezTo>
                    <a:cubicBezTo>
                      <a:pt x="711603" y="46165"/>
                      <a:pt x="602170" y="-69"/>
                      <a:pt x="487892" y="1"/>
                    </a:cubicBezTo>
                    <a:moveTo>
                      <a:pt x="487892" y="786102"/>
                    </a:moveTo>
                    <a:cubicBezTo>
                      <a:pt x="287127" y="786185"/>
                      <a:pt x="124307" y="623499"/>
                      <a:pt x="124225" y="422734"/>
                    </a:cubicBezTo>
                    <a:cubicBezTo>
                      <a:pt x="124143" y="221970"/>
                      <a:pt x="286828" y="59150"/>
                      <a:pt x="487593" y="59067"/>
                    </a:cubicBezTo>
                    <a:cubicBezTo>
                      <a:pt x="688357" y="58984"/>
                      <a:pt x="851178" y="221670"/>
                      <a:pt x="851260" y="422435"/>
                    </a:cubicBezTo>
                    <a:cubicBezTo>
                      <a:pt x="851260" y="422484"/>
                      <a:pt x="851260" y="422535"/>
                      <a:pt x="851260" y="422585"/>
                    </a:cubicBezTo>
                    <a:cubicBezTo>
                      <a:pt x="851095" y="623224"/>
                      <a:pt x="688531" y="785856"/>
                      <a:pt x="487892" y="786102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5CE23722-D4EC-A91B-080E-AD940CE9D331}"/>
                </a:ext>
              </a:extLst>
            </p:cNvPr>
            <p:cNvGrpSpPr/>
            <p:nvPr/>
          </p:nvGrpSpPr>
          <p:grpSpPr>
            <a:xfrm>
              <a:off x="3494077" y="2014702"/>
              <a:ext cx="641651" cy="500042"/>
              <a:chOff x="3494077" y="2014702"/>
              <a:chExt cx="641651" cy="500042"/>
            </a:xfrm>
          </p:grpSpPr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3FB523CE-3C36-7F5A-1564-3C57B7F9699F}"/>
                  </a:ext>
                </a:extLst>
              </p:cNvPr>
              <p:cNvSpPr/>
              <p:nvPr/>
            </p:nvSpPr>
            <p:spPr>
              <a:xfrm>
                <a:off x="3494077" y="2029580"/>
                <a:ext cx="198183" cy="265647"/>
              </a:xfrm>
              <a:custGeom>
                <a:avLst/>
                <a:gdLst>
                  <a:gd name="connsiteX0" fmla="*/ 126207 w 198183"/>
                  <a:gd name="connsiteY0" fmla="*/ 374 h 265647"/>
                  <a:gd name="connsiteX1" fmla="*/ 58324 w 198183"/>
                  <a:gd name="connsiteY1" fmla="*/ 67669 h 265647"/>
                  <a:gd name="connsiteX2" fmla="*/ 72973 w 198183"/>
                  <a:gd name="connsiteY2" fmla="*/ 109983 h 265647"/>
                  <a:gd name="connsiteX3" fmla="*/ 0 w 198183"/>
                  <a:gd name="connsiteY3" fmla="*/ 203442 h 265647"/>
                  <a:gd name="connsiteX4" fmla="*/ 0 w 198183"/>
                  <a:gd name="connsiteY4" fmla="*/ 250695 h 265647"/>
                  <a:gd name="connsiteX5" fmla="*/ 14953 w 198183"/>
                  <a:gd name="connsiteY5" fmla="*/ 265648 h 265647"/>
                  <a:gd name="connsiteX6" fmla="*/ 29907 w 198183"/>
                  <a:gd name="connsiteY6" fmla="*/ 250695 h 265647"/>
                  <a:gd name="connsiteX7" fmla="*/ 29907 w 198183"/>
                  <a:gd name="connsiteY7" fmla="*/ 203143 h 265647"/>
                  <a:gd name="connsiteX8" fmla="*/ 97048 w 198183"/>
                  <a:gd name="connsiteY8" fmla="*/ 136002 h 265647"/>
                  <a:gd name="connsiteX9" fmla="*/ 126955 w 198183"/>
                  <a:gd name="connsiteY9" fmla="*/ 136002 h 265647"/>
                  <a:gd name="connsiteX10" fmla="*/ 198107 w 198183"/>
                  <a:gd name="connsiteY10" fmla="*/ 71227 h 265647"/>
                  <a:gd name="connsiteX11" fmla="*/ 133332 w 198183"/>
                  <a:gd name="connsiteY11" fmla="*/ 75 h 265647"/>
                  <a:gd name="connsiteX12" fmla="*/ 126955 w 198183"/>
                  <a:gd name="connsiteY12" fmla="*/ 75 h 265647"/>
                  <a:gd name="connsiteX13" fmla="*/ 126955 w 198183"/>
                  <a:gd name="connsiteY13" fmla="*/ 106394 h 265647"/>
                  <a:gd name="connsiteX14" fmla="*/ 88524 w 198183"/>
                  <a:gd name="connsiteY14" fmla="*/ 67964 h 265647"/>
                  <a:gd name="connsiteX15" fmla="*/ 126955 w 198183"/>
                  <a:gd name="connsiteY15" fmla="*/ 29533 h 265647"/>
                  <a:gd name="connsiteX16" fmla="*/ 165385 w 198183"/>
                  <a:gd name="connsiteY16" fmla="*/ 67964 h 265647"/>
                  <a:gd name="connsiteX17" fmla="*/ 165385 w 198183"/>
                  <a:gd name="connsiteY17" fmla="*/ 68113 h 265647"/>
                  <a:gd name="connsiteX18" fmla="*/ 127104 w 198183"/>
                  <a:gd name="connsiteY18" fmla="*/ 106394 h 265647"/>
                  <a:gd name="connsiteX19" fmla="*/ 126955 w 198183"/>
                  <a:gd name="connsiteY19" fmla="*/ 106394 h 265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8183" h="265647">
                    <a:moveTo>
                      <a:pt x="126207" y="374"/>
                    </a:moveTo>
                    <a:cubicBezTo>
                      <a:pt x="88879" y="211"/>
                      <a:pt x="58486" y="30341"/>
                      <a:pt x="58324" y="67669"/>
                    </a:cubicBezTo>
                    <a:cubicBezTo>
                      <a:pt x="58257" y="83028"/>
                      <a:pt x="63423" y="97953"/>
                      <a:pt x="72973" y="109983"/>
                    </a:cubicBezTo>
                    <a:cubicBezTo>
                      <a:pt x="30201" y="120881"/>
                      <a:pt x="200" y="159305"/>
                      <a:pt x="0" y="203442"/>
                    </a:cubicBezTo>
                    <a:lnTo>
                      <a:pt x="0" y="250695"/>
                    </a:lnTo>
                    <a:cubicBezTo>
                      <a:pt x="0" y="258953"/>
                      <a:pt x="6695" y="265648"/>
                      <a:pt x="14953" y="265648"/>
                    </a:cubicBezTo>
                    <a:cubicBezTo>
                      <a:pt x="23212" y="265648"/>
                      <a:pt x="29907" y="258953"/>
                      <a:pt x="29907" y="250695"/>
                    </a:cubicBezTo>
                    <a:lnTo>
                      <a:pt x="29907" y="203143"/>
                    </a:lnTo>
                    <a:cubicBezTo>
                      <a:pt x="29907" y="166061"/>
                      <a:pt x="59966" y="136002"/>
                      <a:pt x="97048" y="136002"/>
                    </a:cubicBezTo>
                    <a:lnTo>
                      <a:pt x="126955" y="136002"/>
                    </a:lnTo>
                    <a:cubicBezTo>
                      <a:pt x="164489" y="137763"/>
                      <a:pt x="196346" y="108763"/>
                      <a:pt x="198107" y="71227"/>
                    </a:cubicBezTo>
                    <a:cubicBezTo>
                      <a:pt x="199867" y="33692"/>
                      <a:pt x="170867" y="1837"/>
                      <a:pt x="133332" y="75"/>
                    </a:cubicBezTo>
                    <a:cubicBezTo>
                      <a:pt x="131207" y="-25"/>
                      <a:pt x="129079" y="-25"/>
                      <a:pt x="126955" y="75"/>
                    </a:cubicBezTo>
                    <a:moveTo>
                      <a:pt x="126955" y="106394"/>
                    </a:moveTo>
                    <a:cubicBezTo>
                      <a:pt x="105730" y="106394"/>
                      <a:pt x="88524" y="89189"/>
                      <a:pt x="88524" y="67964"/>
                    </a:cubicBezTo>
                    <a:cubicBezTo>
                      <a:pt x="88524" y="46739"/>
                      <a:pt x="105731" y="29533"/>
                      <a:pt x="126955" y="29533"/>
                    </a:cubicBezTo>
                    <a:cubicBezTo>
                      <a:pt x="148179" y="29533"/>
                      <a:pt x="165385" y="46739"/>
                      <a:pt x="165385" y="67964"/>
                    </a:cubicBezTo>
                    <a:cubicBezTo>
                      <a:pt x="165385" y="68013"/>
                      <a:pt x="165385" y="68064"/>
                      <a:pt x="165385" y="68113"/>
                    </a:cubicBezTo>
                    <a:cubicBezTo>
                      <a:pt x="165385" y="89254"/>
                      <a:pt x="148247" y="106394"/>
                      <a:pt x="127104" y="106394"/>
                    </a:cubicBezTo>
                    <a:cubicBezTo>
                      <a:pt x="127055" y="106394"/>
                      <a:pt x="127004" y="106394"/>
                      <a:pt x="126955" y="106394"/>
                    </a:cubicBezTo>
                  </a:path>
                </a:pathLst>
              </a:custGeom>
              <a:solidFill>
                <a:srgbClr val="3CB5A1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5CABF24E-C8B0-A585-2921-65A5B2944828}"/>
                  </a:ext>
                </a:extLst>
              </p:cNvPr>
              <p:cNvSpPr/>
              <p:nvPr/>
            </p:nvSpPr>
            <p:spPr>
              <a:xfrm>
                <a:off x="3546563" y="2245882"/>
                <a:ext cx="29906" cy="93608"/>
              </a:xfrm>
              <a:custGeom>
                <a:avLst/>
                <a:gdLst>
                  <a:gd name="connsiteX0" fmla="*/ 14953 w 29906"/>
                  <a:gd name="connsiteY0" fmla="*/ 150 h 93608"/>
                  <a:gd name="connsiteX1" fmla="*/ 0 w 29906"/>
                  <a:gd name="connsiteY1" fmla="*/ 15103 h 93608"/>
                  <a:gd name="connsiteX2" fmla="*/ 0 w 29906"/>
                  <a:gd name="connsiteY2" fmla="*/ 78655 h 93608"/>
                  <a:gd name="connsiteX3" fmla="*/ 14953 w 29906"/>
                  <a:gd name="connsiteY3" fmla="*/ 93608 h 93608"/>
                  <a:gd name="connsiteX4" fmla="*/ 29907 w 29906"/>
                  <a:gd name="connsiteY4" fmla="*/ 78655 h 93608"/>
                  <a:gd name="connsiteX5" fmla="*/ 29907 w 29906"/>
                  <a:gd name="connsiteY5" fmla="*/ 14953 h 93608"/>
                  <a:gd name="connsiteX6" fmla="*/ 14953 w 29906"/>
                  <a:gd name="connsiteY6" fmla="*/ 0 h 93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06" h="93608">
                    <a:moveTo>
                      <a:pt x="14953" y="150"/>
                    </a:moveTo>
                    <a:cubicBezTo>
                      <a:pt x="6695" y="150"/>
                      <a:pt x="0" y="6844"/>
                      <a:pt x="0" y="15103"/>
                    </a:cubicBezTo>
                    <a:lnTo>
                      <a:pt x="0" y="78655"/>
                    </a:lnTo>
                    <a:cubicBezTo>
                      <a:pt x="0" y="86914"/>
                      <a:pt x="6695" y="93608"/>
                      <a:pt x="14953" y="93608"/>
                    </a:cubicBezTo>
                    <a:cubicBezTo>
                      <a:pt x="23212" y="93608"/>
                      <a:pt x="29907" y="86914"/>
                      <a:pt x="29907" y="78655"/>
                    </a:cubicBezTo>
                    <a:lnTo>
                      <a:pt x="29907" y="14953"/>
                    </a:lnTo>
                    <a:cubicBezTo>
                      <a:pt x="29907" y="6695"/>
                      <a:pt x="23212" y="0"/>
                      <a:pt x="14953" y="0"/>
                    </a:cubicBezTo>
                  </a:path>
                </a:pathLst>
              </a:custGeom>
              <a:solidFill>
                <a:srgbClr val="3CB5A1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9A79EF9E-9709-C8E5-C3CB-4504F4730BDD}"/>
                  </a:ext>
                </a:extLst>
              </p:cNvPr>
              <p:cNvSpPr/>
              <p:nvPr/>
            </p:nvSpPr>
            <p:spPr>
              <a:xfrm>
                <a:off x="3940666" y="2030101"/>
                <a:ext cx="195062" cy="264827"/>
              </a:xfrm>
              <a:custGeom>
                <a:avLst/>
                <a:gdLst>
                  <a:gd name="connsiteX0" fmla="*/ 121342 w 195062"/>
                  <a:gd name="connsiteY0" fmla="*/ 109162 h 264827"/>
                  <a:gd name="connsiteX1" fmla="*/ 109162 w 195062"/>
                  <a:gd name="connsiteY1" fmla="*/ 14142 h 264827"/>
                  <a:gd name="connsiteX2" fmla="*/ 14142 w 195062"/>
                  <a:gd name="connsiteY2" fmla="*/ 26322 h 264827"/>
                  <a:gd name="connsiteX3" fmla="*/ 26322 w 195062"/>
                  <a:gd name="connsiteY3" fmla="*/ 121342 h 264827"/>
                  <a:gd name="connsiteX4" fmla="*/ 68108 w 195062"/>
                  <a:gd name="connsiteY4" fmla="*/ 135480 h 264827"/>
                  <a:gd name="connsiteX5" fmla="*/ 98014 w 195062"/>
                  <a:gd name="connsiteY5" fmla="*/ 135480 h 264827"/>
                  <a:gd name="connsiteX6" fmla="*/ 165155 w 195062"/>
                  <a:gd name="connsiteY6" fmla="*/ 202621 h 264827"/>
                  <a:gd name="connsiteX7" fmla="*/ 165155 w 195062"/>
                  <a:gd name="connsiteY7" fmla="*/ 249874 h 264827"/>
                  <a:gd name="connsiteX8" fmla="*/ 180109 w 195062"/>
                  <a:gd name="connsiteY8" fmla="*/ 264828 h 264827"/>
                  <a:gd name="connsiteX9" fmla="*/ 195062 w 195062"/>
                  <a:gd name="connsiteY9" fmla="*/ 249874 h 264827"/>
                  <a:gd name="connsiteX10" fmla="*/ 195062 w 195062"/>
                  <a:gd name="connsiteY10" fmla="*/ 202621 h 264827"/>
                  <a:gd name="connsiteX11" fmla="*/ 122089 w 195062"/>
                  <a:gd name="connsiteY11" fmla="*/ 109162 h 264827"/>
                  <a:gd name="connsiteX12" fmla="*/ 30425 w 195062"/>
                  <a:gd name="connsiteY12" fmla="*/ 67592 h 264827"/>
                  <a:gd name="connsiteX13" fmla="*/ 68706 w 195062"/>
                  <a:gd name="connsiteY13" fmla="*/ 29012 h 264827"/>
                  <a:gd name="connsiteX14" fmla="*/ 107286 w 195062"/>
                  <a:gd name="connsiteY14" fmla="*/ 67293 h 264827"/>
                  <a:gd name="connsiteX15" fmla="*/ 69005 w 195062"/>
                  <a:gd name="connsiteY15" fmla="*/ 105873 h 264827"/>
                  <a:gd name="connsiteX16" fmla="*/ 68855 w 195062"/>
                  <a:gd name="connsiteY16" fmla="*/ 105873 h 264827"/>
                  <a:gd name="connsiteX17" fmla="*/ 30425 w 195062"/>
                  <a:gd name="connsiteY17" fmla="*/ 67592 h 264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95062" h="264827">
                    <a:moveTo>
                      <a:pt x="121342" y="109162"/>
                    </a:moveTo>
                    <a:cubicBezTo>
                      <a:pt x="144218" y="79561"/>
                      <a:pt x="138764" y="37018"/>
                      <a:pt x="109162" y="14142"/>
                    </a:cubicBezTo>
                    <a:cubicBezTo>
                      <a:pt x="79559" y="-8733"/>
                      <a:pt x="37018" y="-3280"/>
                      <a:pt x="14142" y="26322"/>
                    </a:cubicBezTo>
                    <a:cubicBezTo>
                      <a:pt x="-8733" y="55925"/>
                      <a:pt x="-3280" y="98466"/>
                      <a:pt x="26322" y="121342"/>
                    </a:cubicBezTo>
                    <a:cubicBezTo>
                      <a:pt x="38283" y="130585"/>
                      <a:pt x="52991" y="135563"/>
                      <a:pt x="68108" y="135480"/>
                    </a:cubicBezTo>
                    <a:lnTo>
                      <a:pt x="98014" y="135480"/>
                    </a:lnTo>
                    <a:cubicBezTo>
                      <a:pt x="135062" y="135563"/>
                      <a:pt x="165073" y="165574"/>
                      <a:pt x="165155" y="202621"/>
                    </a:cubicBezTo>
                    <a:lnTo>
                      <a:pt x="165155" y="249874"/>
                    </a:lnTo>
                    <a:cubicBezTo>
                      <a:pt x="165155" y="258133"/>
                      <a:pt x="171850" y="264828"/>
                      <a:pt x="180109" y="264828"/>
                    </a:cubicBezTo>
                    <a:cubicBezTo>
                      <a:pt x="188367" y="264828"/>
                      <a:pt x="195062" y="258133"/>
                      <a:pt x="195062" y="249874"/>
                    </a:cubicBezTo>
                    <a:lnTo>
                      <a:pt x="195062" y="202621"/>
                    </a:lnTo>
                    <a:cubicBezTo>
                      <a:pt x="194968" y="158447"/>
                      <a:pt x="164922" y="119966"/>
                      <a:pt x="122089" y="109162"/>
                    </a:cubicBezTo>
                    <a:moveTo>
                      <a:pt x="30425" y="67592"/>
                    </a:moveTo>
                    <a:cubicBezTo>
                      <a:pt x="30343" y="46367"/>
                      <a:pt x="47481" y="29094"/>
                      <a:pt x="68706" y="29012"/>
                    </a:cubicBezTo>
                    <a:cubicBezTo>
                      <a:pt x="89929" y="28930"/>
                      <a:pt x="107202" y="46068"/>
                      <a:pt x="107286" y="67293"/>
                    </a:cubicBezTo>
                    <a:cubicBezTo>
                      <a:pt x="107368" y="88518"/>
                      <a:pt x="90228" y="105790"/>
                      <a:pt x="69005" y="105873"/>
                    </a:cubicBezTo>
                    <a:cubicBezTo>
                      <a:pt x="68955" y="105873"/>
                      <a:pt x="68905" y="105873"/>
                      <a:pt x="68855" y="105873"/>
                    </a:cubicBezTo>
                    <a:cubicBezTo>
                      <a:pt x="47689" y="105873"/>
                      <a:pt x="30507" y="88758"/>
                      <a:pt x="30425" y="67592"/>
                    </a:cubicBezTo>
                  </a:path>
                </a:pathLst>
              </a:custGeom>
              <a:solidFill>
                <a:srgbClr val="F4519B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967CB9BD-BD2E-6C9A-C063-5DA00C0AD6E9}"/>
                  </a:ext>
                </a:extLst>
              </p:cNvPr>
              <p:cNvSpPr/>
              <p:nvPr/>
            </p:nvSpPr>
            <p:spPr>
              <a:xfrm>
                <a:off x="4052587" y="2245882"/>
                <a:ext cx="29906" cy="93608"/>
              </a:xfrm>
              <a:custGeom>
                <a:avLst/>
                <a:gdLst>
                  <a:gd name="connsiteX0" fmla="*/ 14953 w 29906"/>
                  <a:gd name="connsiteY0" fmla="*/ 150 h 93608"/>
                  <a:gd name="connsiteX1" fmla="*/ 0 w 29906"/>
                  <a:gd name="connsiteY1" fmla="*/ 15103 h 93608"/>
                  <a:gd name="connsiteX2" fmla="*/ 0 w 29906"/>
                  <a:gd name="connsiteY2" fmla="*/ 78655 h 93608"/>
                  <a:gd name="connsiteX3" fmla="*/ 14953 w 29906"/>
                  <a:gd name="connsiteY3" fmla="*/ 93608 h 93608"/>
                  <a:gd name="connsiteX4" fmla="*/ 29907 w 29906"/>
                  <a:gd name="connsiteY4" fmla="*/ 78655 h 93608"/>
                  <a:gd name="connsiteX5" fmla="*/ 29907 w 29906"/>
                  <a:gd name="connsiteY5" fmla="*/ 14953 h 93608"/>
                  <a:gd name="connsiteX6" fmla="*/ 14953 w 29906"/>
                  <a:gd name="connsiteY6" fmla="*/ 0 h 93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06" h="93608">
                    <a:moveTo>
                      <a:pt x="14953" y="150"/>
                    </a:moveTo>
                    <a:cubicBezTo>
                      <a:pt x="6695" y="150"/>
                      <a:pt x="0" y="6844"/>
                      <a:pt x="0" y="15103"/>
                    </a:cubicBezTo>
                    <a:lnTo>
                      <a:pt x="0" y="78655"/>
                    </a:lnTo>
                    <a:cubicBezTo>
                      <a:pt x="0" y="86914"/>
                      <a:pt x="6695" y="93608"/>
                      <a:pt x="14953" y="93608"/>
                    </a:cubicBezTo>
                    <a:cubicBezTo>
                      <a:pt x="23212" y="93608"/>
                      <a:pt x="29907" y="86914"/>
                      <a:pt x="29907" y="78655"/>
                    </a:cubicBezTo>
                    <a:lnTo>
                      <a:pt x="29907" y="14953"/>
                    </a:lnTo>
                    <a:cubicBezTo>
                      <a:pt x="29907" y="6695"/>
                      <a:pt x="23212" y="0"/>
                      <a:pt x="14953" y="0"/>
                    </a:cubicBezTo>
                  </a:path>
                </a:pathLst>
              </a:custGeom>
              <a:solidFill>
                <a:srgbClr val="F4519B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6047EA4-D1C5-CD9E-E86D-C6D2C1D901E0}"/>
                  </a:ext>
                </a:extLst>
              </p:cNvPr>
              <p:cNvSpPr/>
              <p:nvPr/>
            </p:nvSpPr>
            <p:spPr>
              <a:xfrm>
                <a:off x="3624321" y="2014702"/>
                <a:ext cx="380265" cy="446957"/>
              </a:xfrm>
              <a:custGeom>
                <a:avLst/>
                <a:gdLst>
                  <a:gd name="connsiteX0" fmla="*/ 258395 w 380265"/>
                  <a:gd name="connsiteY0" fmla="*/ 168675 h 446957"/>
                  <a:gd name="connsiteX1" fmla="*/ 288302 w 380265"/>
                  <a:gd name="connsiteY1" fmla="*/ 98244 h 446957"/>
                  <a:gd name="connsiteX2" fmla="*/ 190058 w 380265"/>
                  <a:gd name="connsiteY2" fmla="*/ 0 h 446957"/>
                  <a:gd name="connsiteX3" fmla="*/ 91814 w 380265"/>
                  <a:gd name="connsiteY3" fmla="*/ 98244 h 446957"/>
                  <a:gd name="connsiteX4" fmla="*/ 121721 w 380265"/>
                  <a:gd name="connsiteY4" fmla="*/ 168675 h 446957"/>
                  <a:gd name="connsiteX5" fmla="*/ 0 w 380265"/>
                  <a:gd name="connsiteY5" fmla="*/ 310433 h 446957"/>
                  <a:gd name="connsiteX6" fmla="*/ 0 w 380265"/>
                  <a:gd name="connsiteY6" fmla="*/ 432004 h 446957"/>
                  <a:gd name="connsiteX7" fmla="*/ 14953 w 380265"/>
                  <a:gd name="connsiteY7" fmla="*/ 446958 h 446957"/>
                  <a:gd name="connsiteX8" fmla="*/ 29907 w 380265"/>
                  <a:gd name="connsiteY8" fmla="*/ 432004 h 446957"/>
                  <a:gd name="connsiteX9" fmla="*/ 29907 w 380265"/>
                  <a:gd name="connsiteY9" fmla="*/ 310433 h 446957"/>
                  <a:gd name="connsiteX10" fmla="*/ 143852 w 380265"/>
                  <a:gd name="connsiteY10" fmla="*/ 196488 h 446957"/>
                  <a:gd name="connsiteX11" fmla="*/ 236264 w 380265"/>
                  <a:gd name="connsiteY11" fmla="*/ 196488 h 446957"/>
                  <a:gd name="connsiteX12" fmla="*/ 350358 w 380265"/>
                  <a:gd name="connsiteY12" fmla="*/ 310433 h 446957"/>
                  <a:gd name="connsiteX13" fmla="*/ 350358 w 380265"/>
                  <a:gd name="connsiteY13" fmla="*/ 432004 h 446957"/>
                  <a:gd name="connsiteX14" fmla="*/ 365312 w 380265"/>
                  <a:gd name="connsiteY14" fmla="*/ 446958 h 446957"/>
                  <a:gd name="connsiteX15" fmla="*/ 380265 w 380265"/>
                  <a:gd name="connsiteY15" fmla="*/ 432004 h 446957"/>
                  <a:gd name="connsiteX16" fmla="*/ 380265 w 380265"/>
                  <a:gd name="connsiteY16" fmla="*/ 310433 h 446957"/>
                  <a:gd name="connsiteX17" fmla="*/ 258545 w 380265"/>
                  <a:gd name="connsiteY17" fmla="*/ 168675 h 446957"/>
                  <a:gd name="connsiteX18" fmla="*/ 190207 w 380265"/>
                  <a:gd name="connsiteY18" fmla="*/ 30206 h 446957"/>
                  <a:gd name="connsiteX19" fmla="*/ 259143 w 380265"/>
                  <a:gd name="connsiteY19" fmla="*/ 98842 h 446957"/>
                  <a:gd name="connsiteX20" fmla="*/ 190506 w 380265"/>
                  <a:gd name="connsiteY20" fmla="*/ 167777 h 446957"/>
                  <a:gd name="connsiteX21" fmla="*/ 121571 w 380265"/>
                  <a:gd name="connsiteY21" fmla="*/ 99141 h 446957"/>
                  <a:gd name="connsiteX22" fmla="*/ 121571 w 380265"/>
                  <a:gd name="connsiteY22" fmla="*/ 98992 h 446957"/>
                  <a:gd name="connsiteX23" fmla="*/ 190207 w 380265"/>
                  <a:gd name="connsiteY23" fmla="*/ 30206 h 446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80265" h="446957">
                    <a:moveTo>
                      <a:pt x="258395" y="168675"/>
                    </a:moveTo>
                    <a:cubicBezTo>
                      <a:pt x="277559" y="150264"/>
                      <a:pt x="288365" y="124819"/>
                      <a:pt x="288302" y="98244"/>
                    </a:cubicBezTo>
                    <a:cubicBezTo>
                      <a:pt x="288302" y="43985"/>
                      <a:pt x="244316" y="0"/>
                      <a:pt x="190058" y="0"/>
                    </a:cubicBezTo>
                    <a:cubicBezTo>
                      <a:pt x="135799" y="0"/>
                      <a:pt x="91814" y="43985"/>
                      <a:pt x="91814" y="98244"/>
                    </a:cubicBezTo>
                    <a:cubicBezTo>
                      <a:pt x="91751" y="124819"/>
                      <a:pt x="102556" y="150264"/>
                      <a:pt x="121721" y="168675"/>
                    </a:cubicBezTo>
                    <a:cubicBezTo>
                      <a:pt x="51805" y="179561"/>
                      <a:pt x="187" y="239675"/>
                      <a:pt x="0" y="310433"/>
                    </a:cubicBezTo>
                    <a:lnTo>
                      <a:pt x="0" y="432004"/>
                    </a:lnTo>
                    <a:cubicBezTo>
                      <a:pt x="0" y="440263"/>
                      <a:pt x="6695" y="446958"/>
                      <a:pt x="14953" y="446958"/>
                    </a:cubicBezTo>
                    <a:cubicBezTo>
                      <a:pt x="23212" y="446958"/>
                      <a:pt x="29907" y="440263"/>
                      <a:pt x="29907" y="432004"/>
                    </a:cubicBezTo>
                    <a:lnTo>
                      <a:pt x="29907" y="310433"/>
                    </a:lnTo>
                    <a:cubicBezTo>
                      <a:pt x="29907" y="247503"/>
                      <a:pt x="80922" y="196488"/>
                      <a:pt x="143852" y="196488"/>
                    </a:cubicBezTo>
                    <a:lnTo>
                      <a:pt x="236264" y="196488"/>
                    </a:lnTo>
                    <a:cubicBezTo>
                      <a:pt x="299218" y="196488"/>
                      <a:pt x="350276" y="247479"/>
                      <a:pt x="350358" y="310433"/>
                    </a:cubicBezTo>
                    <a:lnTo>
                      <a:pt x="350358" y="432004"/>
                    </a:lnTo>
                    <a:cubicBezTo>
                      <a:pt x="350358" y="440263"/>
                      <a:pt x="357053" y="446958"/>
                      <a:pt x="365312" y="446958"/>
                    </a:cubicBezTo>
                    <a:cubicBezTo>
                      <a:pt x="373571" y="446958"/>
                      <a:pt x="380265" y="440263"/>
                      <a:pt x="380265" y="432004"/>
                    </a:cubicBezTo>
                    <a:lnTo>
                      <a:pt x="380265" y="310433"/>
                    </a:lnTo>
                    <a:cubicBezTo>
                      <a:pt x="380078" y="239675"/>
                      <a:pt x="328461" y="179561"/>
                      <a:pt x="258545" y="168675"/>
                    </a:cubicBezTo>
                    <a:moveTo>
                      <a:pt x="190207" y="30206"/>
                    </a:moveTo>
                    <a:cubicBezTo>
                      <a:pt x="228197" y="30124"/>
                      <a:pt x="259060" y="60853"/>
                      <a:pt x="259143" y="98842"/>
                    </a:cubicBezTo>
                    <a:cubicBezTo>
                      <a:pt x="259225" y="136831"/>
                      <a:pt x="228496" y="167695"/>
                      <a:pt x="190506" y="167777"/>
                    </a:cubicBezTo>
                    <a:cubicBezTo>
                      <a:pt x="152517" y="167860"/>
                      <a:pt x="121653" y="137130"/>
                      <a:pt x="121571" y="99141"/>
                    </a:cubicBezTo>
                    <a:cubicBezTo>
                      <a:pt x="121571" y="99092"/>
                      <a:pt x="121571" y="99041"/>
                      <a:pt x="121571" y="98992"/>
                    </a:cubicBezTo>
                    <a:cubicBezTo>
                      <a:pt x="121571" y="61061"/>
                      <a:pt x="152277" y="30288"/>
                      <a:pt x="190207" y="30206"/>
                    </a:cubicBezTo>
                  </a:path>
                </a:pathLst>
              </a:custGeom>
              <a:solidFill>
                <a:srgbClr val="2699D6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416F0E30-3C02-58BA-B8E6-23062628C99A}"/>
                  </a:ext>
                </a:extLst>
              </p:cNvPr>
              <p:cNvSpPr/>
              <p:nvPr/>
            </p:nvSpPr>
            <p:spPr>
              <a:xfrm>
                <a:off x="3691910" y="2324686"/>
                <a:ext cx="29906" cy="190058"/>
              </a:xfrm>
              <a:custGeom>
                <a:avLst/>
                <a:gdLst>
                  <a:gd name="connsiteX0" fmla="*/ 14953 w 29906"/>
                  <a:gd name="connsiteY0" fmla="*/ 150 h 190058"/>
                  <a:gd name="connsiteX1" fmla="*/ 0 w 29906"/>
                  <a:gd name="connsiteY1" fmla="*/ 15103 h 190058"/>
                  <a:gd name="connsiteX2" fmla="*/ 0 w 29906"/>
                  <a:gd name="connsiteY2" fmla="*/ 175105 h 190058"/>
                  <a:gd name="connsiteX3" fmla="*/ 14953 w 29906"/>
                  <a:gd name="connsiteY3" fmla="*/ 190058 h 190058"/>
                  <a:gd name="connsiteX4" fmla="*/ 29907 w 29906"/>
                  <a:gd name="connsiteY4" fmla="*/ 175105 h 190058"/>
                  <a:gd name="connsiteX5" fmla="*/ 29907 w 29906"/>
                  <a:gd name="connsiteY5" fmla="*/ 14953 h 190058"/>
                  <a:gd name="connsiteX6" fmla="*/ 14953 w 29906"/>
                  <a:gd name="connsiteY6" fmla="*/ 0 h 190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06" h="190058">
                    <a:moveTo>
                      <a:pt x="14953" y="150"/>
                    </a:moveTo>
                    <a:cubicBezTo>
                      <a:pt x="6695" y="150"/>
                      <a:pt x="0" y="6844"/>
                      <a:pt x="0" y="15103"/>
                    </a:cubicBezTo>
                    <a:lnTo>
                      <a:pt x="0" y="175105"/>
                    </a:lnTo>
                    <a:cubicBezTo>
                      <a:pt x="0" y="183363"/>
                      <a:pt x="6695" y="190058"/>
                      <a:pt x="14953" y="190058"/>
                    </a:cubicBezTo>
                    <a:cubicBezTo>
                      <a:pt x="23212" y="190058"/>
                      <a:pt x="29907" y="183363"/>
                      <a:pt x="29907" y="175105"/>
                    </a:cubicBezTo>
                    <a:lnTo>
                      <a:pt x="29907" y="14953"/>
                    </a:lnTo>
                    <a:cubicBezTo>
                      <a:pt x="29907" y="6695"/>
                      <a:pt x="23212" y="0"/>
                      <a:pt x="14953" y="0"/>
                    </a:cubicBezTo>
                  </a:path>
                </a:pathLst>
              </a:custGeom>
              <a:solidFill>
                <a:srgbClr val="2699D6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0E6632C2-FF9D-7FCF-3316-89D24303985F}"/>
                  </a:ext>
                </a:extLst>
              </p:cNvPr>
              <p:cNvSpPr/>
              <p:nvPr/>
            </p:nvSpPr>
            <p:spPr>
              <a:xfrm>
                <a:off x="3906941" y="2324686"/>
                <a:ext cx="29906" cy="190058"/>
              </a:xfrm>
              <a:custGeom>
                <a:avLst/>
                <a:gdLst>
                  <a:gd name="connsiteX0" fmla="*/ 14953 w 29906"/>
                  <a:gd name="connsiteY0" fmla="*/ 150 h 190058"/>
                  <a:gd name="connsiteX1" fmla="*/ 0 w 29906"/>
                  <a:gd name="connsiteY1" fmla="*/ 15103 h 190058"/>
                  <a:gd name="connsiteX2" fmla="*/ 0 w 29906"/>
                  <a:gd name="connsiteY2" fmla="*/ 175105 h 190058"/>
                  <a:gd name="connsiteX3" fmla="*/ 14953 w 29906"/>
                  <a:gd name="connsiteY3" fmla="*/ 190058 h 190058"/>
                  <a:gd name="connsiteX4" fmla="*/ 29907 w 29906"/>
                  <a:gd name="connsiteY4" fmla="*/ 175105 h 190058"/>
                  <a:gd name="connsiteX5" fmla="*/ 29907 w 29906"/>
                  <a:gd name="connsiteY5" fmla="*/ 14953 h 190058"/>
                  <a:gd name="connsiteX6" fmla="*/ 14953 w 29906"/>
                  <a:gd name="connsiteY6" fmla="*/ 0 h 190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06" h="190058">
                    <a:moveTo>
                      <a:pt x="14953" y="150"/>
                    </a:moveTo>
                    <a:cubicBezTo>
                      <a:pt x="6695" y="150"/>
                      <a:pt x="0" y="6844"/>
                      <a:pt x="0" y="15103"/>
                    </a:cubicBezTo>
                    <a:lnTo>
                      <a:pt x="0" y="175105"/>
                    </a:lnTo>
                    <a:cubicBezTo>
                      <a:pt x="0" y="183363"/>
                      <a:pt x="6695" y="190058"/>
                      <a:pt x="14953" y="190058"/>
                    </a:cubicBezTo>
                    <a:cubicBezTo>
                      <a:pt x="23212" y="190058"/>
                      <a:pt x="29907" y="183363"/>
                      <a:pt x="29907" y="175105"/>
                    </a:cubicBezTo>
                    <a:lnTo>
                      <a:pt x="29907" y="14953"/>
                    </a:lnTo>
                    <a:cubicBezTo>
                      <a:pt x="29907" y="6695"/>
                      <a:pt x="23212" y="0"/>
                      <a:pt x="14953" y="0"/>
                    </a:cubicBezTo>
                  </a:path>
                </a:pathLst>
              </a:custGeom>
              <a:solidFill>
                <a:srgbClr val="2699D6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</p:grpSp>
      </p:grpSp>
      <p:sp>
        <p:nvSpPr>
          <p:cNvPr id="208" name="Text Placeholder 19">
            <a:extLst>
              <a:ext uri="{FF2B5EF4-FFF2-40B4-BE49-F238E27FC236}">
                <a16:creationId xmlns:a16="http://schemas.microsoft.com/office/drawing/2014/main" id="{24F31F3D-5CF5-A137-3048-6E254994FAE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68491" y="8256188"/>
            <a:ext cx="6222689" cy="1392025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AB7D606-215C-F28E-E3DB-E93FF2DCB6F0}"/>
              </a:ext>
            </a:extLst>
          </p:cNvPr>
          <p:cNvSpPr txBox="1">
            <a:spLocks/>
          </p:cNvSpPr>
          <p:nvPr userDrawn="1"/>
        </p:nvSpPr>
        <p:spPr>
          <a:xfrm>
            <a:off x="1120366" y="10242623"/>
            <a:ext cx="2325423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fr-FR" sz="1000" kern="1200" noProof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prospectiveatlas@opco-atlas.fr</a:t>
            </a:r>
          </a:p>
        </p:txBody>
      </p:sp>
    </p:spTree>
    <p:extLst>
      <p:ext uri="{BB962C8B-B14F-4D97-AF65-F5344CB8AC3E}">
        <p14:creationId xmlns:p14="http://schemas.microsoft.com/office/powerpoint/2010/main" val="2552324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2D1995D-C3A7-7EB8-BE03-84E7FD38AC2A}"/>
              </a:ext>
            </a:extLst>
          </p:cNvPr>
          <p:cNvSpPr/>
          <p:nvPr userDrawn="1"/>
        </p:nvSpPr>
        <p:spPr>
          <a:xfrm>
            <a:off x="0" y="1"/>
            <a:ext cx="7559674" cy="5345902"/>
          </a:xfrm>
          <a:custGeom>
            <a:avLst/>
            <a:gdLst>
              <a:gd name="connsiteX0" fmla="*/ 0 w 7559674"/>
              <a:gd name="connsiteY0" fmla="*/ 0 h 5345902"/>
              <a:gd name="connsiteX1" fmla="*/ 7559674 w 7559674"/>
              <a:gd name="connsiteY1" fmla="*/ 0 h 5345902"/>
              <a:gd name="connsiteX2" fmla="*/ 7559674 w 7559674"/>
              <a:gd name="connsiteY2" fmla="*/ 5345902 h 5345902"/>
              <a:gd name="connsiteX3" fmla="*/ 0 w 7559674"/>
              <a:gd name="connsiteY3" fmla="*/ 5345902 h 534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59674" h="5345902">
                <a:moveTo>
                  <a:pt x="0" y="0"/>
                </a:moveTo>
                <a:lnTo>
                  <a:pt x="7559674" y="0"/>
                </a:lnTo>
                <a:lnTo>
                  <a:pt x="7559674" y="5345902"/>
                </a:lnTo>
                <a:lnTo>
                  <a:pt x="0" y="534590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fr-FR" b="1" noProof="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7702FD7-4435-BFAB-0990-B2ECE1A1B3D1}"/>
              </a:ext>
            </a:extLst>
          </p:cNvPr>
          <p:cNvSpPr/>
          <p:nvPr userDrawn="1"/>
        </p:nvSpPr>
        <p:spPr>
          <a:xfrm>
            <a:off x="0" y="9949266"/>
            <a:ext cx="7559675" cy="7559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b="1" noProof="0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9D1FAF2-39E9-9C6A-2E61-467B1C7600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6205" t="-25526" r="-6205" b="-25526"/>
          <a:stretch/>
        </p:blipFill>
        <p:spPr>
          <a:xfrm>
            <a:off x="607121" y="10183261"/>
            <a:ext cx="288000" cy="288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36DCB4E-B18D-46DF-B938-56A78A2E9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14853" t="-14853" r="-14853" b="-14853"/>
          <a:stretch/>
        </p:blipFill>
        <p:spPr>
          <a:xfrm>
            <a:off x="4011398" y="10183261"/>
            <a:ext cx="288000" cy="288000"/>
          </a:xfrm>
          <a:prstGeom prst="rect">
            <a:avLst/>
          </a:prstGeom>
        </p:spPr>
      </p:pic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26888ED-9561-B010-00CF-10685DC64B2E}"/>
              </a:ext>
            </a:extLst>
          </p:cNvPr>
          <p:cNvSpPr txBox="1">
            <a:spLocks/>
          </p:cNvSpPr>
          <p:nvPr userDrawn="1"/>
        </p:nvSpPr>
        <p:spPr>
          <a:xfrm>
            <a:off x="4417897" y="10250317"/>
            <a:ext cx="2345973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000" noProof="0" dirty="0">
                <a:solidFill>
                  <a:schemeClr val="bg2"/>
                </a:solidFill>
              </a:rPr>
              <a:t>www.metierscomptabilite.f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0725BCC-B186-E39C-DD69-0693268063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66856" y="5345906"/>
            <a:ext cx="1148307" cy="185598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BC5DA466-1A4D-541D-D3A6-4F45DE897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5586" t="68536" r="34757"/>
          <a:stretch/>
        </p:blipFill>
        <p:spPr>
          <a:xfrm flipH="1">
            <a:off x="-1" y="4917079"/>
            <a:ext cx="3779837" cy="35149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1628AA9-1E86-8E00-D5A5-7A8A51A8F0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15586" r="34757" b="31464"/>
          <a:stretch/>
        </p:blipFill>
        <p:spPr>
          <a:xfrm flipH="1">
            <a:off x="-1" y="5411547"/>
            <a:ext cx="3779837" cy="7656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920B85-A799-227D-6791-EECE551ED00D}"/>
              </a:ext>
            </a:extLst>
          </p:cNvPr>
          <p:cNvCxnSpPr>
            <a:cxnSpLocks/>
          </p:cNvCxnSpPr>
          <p:nvPr userDrawn="1"/>
        </p:nvCxnSpPr>
        <p:spPr>
          <a:xfrm>
            <a:off x="668492" y="8018859"/>
            <a:ext cx="622269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D75646B-E2C1-9591-55FA-BFCFDB37E730}"/>
              </a:ext>
            </a:extLst>
          </p:cNvPr>
          <p:cNvGrpSpPr/>
          <p:nvPr userDrawn="1"/>
        </p:nvGrpSpPr>
        <p:grpSpPr>
          <a:xfrm>
            <a:off x="2710677" y="1790699"/>
            <a:ext cx="2145356" cy="1767176"/>
            <a:chOff x="2710677" y="1790699"/>
            <a:chExt cx="2145356" cy="1767176"/>
          </a:xfrm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14A9B4CA-E17C-CCC2-7BFA-FF73470F6DAC}"/>
                </a:ext>
              </a:extLst>
            </p:cNvPr>
            <p:cNvGrpSpPr/>
            <p:nvPr/>
          </p:nvGrpSpPr>
          <p:grpSpPr>
            <a:xfrm>
              <a:off x="2710677" y="1790699"/>
              <a:ext cx="2145356" cy="1767176"/>
              <a:chOff x="2710677" y="1790699"/>
              <a:chExt cx="2145356" cy="1767176"/>
            </a:xfrm>
            <a:solidFill>
              <a:srgbClr val="FFFFFF"/>
            </a:solidFill>
          </p:grpSpPr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5CFF0912-0FBD-D8A8-CE1A-A1006CBE384E}"/>
                  </a:ext>
                </a:extLst>
              </p:cNvPr>
              <p:cNvSpPr/>
              <p:nvPr/>
            </p:nvSpPr>
            <p:spPr>
              <a:xfrm>
                <a:off x="2710698" y="3207536"/>
                <a:ext cx="59786" cy="58318"/>
              </a:xfrm>
              <a:custGeom>
                <a:avLst/>
                <a:gdLst>
                  <a:gd name="connsiteX0" fmla="*/ 14923 w 59786"/>
                  <a:gd name="connsiteY0" fmla="*/ 54730 h 58318"/>
                  <a:gd name="connsiteX1" fmla="*/ 4007 w 59786"/>
                  <a:gd name="connsiteY1" fmla="*/ 44262 h 58318"/>
                  <a:gd name="connsiteX2" fmla="*/ 4007 w 59786"/>
                  <a:gd name="connsiteY2" fmla="*/ 14355 h 58318"/>
                  <a:gd name="connsiteX3" fmla="*/ 14923 w 59786"/>
                  <a:gd name="connsiteY3" fmla="*/ 3738 h 58318"/>
                  <a:gd name="connsiteX4" fmla="*/ 29876 w 59786"/>
                  <a:gd name="connsiteY4" fmla="*/ 0 h 58318"/>
                  <a:gd name="connsiteX5" fmla="*/ 44830 w 59786"/>
                  <a:gd name="connsiteY5" fmla="*/ 3738 h 58318"/>
                  <a:gd name="connsiteX6" fmla="*/ 55746 w 59786"/>
                  <a:gd name="connsiteY6" fmla="*/ 14206 h 58318"/>
                  <a:gd name="connsiteX7" fmla="*/ 59783 w 59786"/>
                  <a:gd name="connsiteY7" fmla="*/ 29159 h 58318"/>
                  <a:gd name="connsiteX8" fmla="*/ 55746 w 59786"/>
                  <a:gd name="connsiteY8" fmla="*/ 44113 h 58318"/>
                  <a:gd name="connsiteX9" fmla="*/ 44830 w 59786"/>
                  <a:gd name="connsiteY9" fmla="*/ 54580 h 58318"/>
                  <a:gd name="connsiteX10" fmla="*/ 29876 w 59786"/>
                  <a:gd name="connsiteY10" fmla="*/ 58318 h 58318"/>
                  <a:gd name="connsiteX11" fmla="*/ 14923 w 59786"/>
                  <a:gd name="connsiteY11" fmla="*/ 54580 h 58318"/>
                  <a:gd name="connsiteX12" fmla="*/ 40792 w 59786"/>
                  <a:gd name="connsiteY12" fmla="*/ 46505 h 58318"/>
                  <a:gd name="connsiteX13" fmla="*/ 47820 w 59786"/>
                  <a:gd name="connsiteY13" fmla="*/ 39477 h 58318"/>
                  <a:gd name="connsiteX14" fmla="*/ 50512 w 59786"/>
                  <a:gd name="connsiteY14" fmla="*/ 29159 h 58318"/>
                  <a:gd name="connsiteX15" fmla="*/ 47820 w 59786"/>
                  <a:gd name="connsiteY15" fmla="*/ 18692 h 58318"/>
                  <a:gd name="connsiteX16" fmla="*/ 40792 w 59786"/>
                  <a:gd name="connsiteY16" fmla="*/ 11514 h 58318"/>
                  <a:gd name="connsiteX17" fmla="*/ 29876 w 59786"/>
                  <a:gd name="connsiteY17" fmla="*/ 9421 h 58318"/>
                  <a:gd name="connsiteX18" fmla="*/ 19708 w 59786"/>
                  <a:gd name="connsiteY18" fmla="*/ 11963 h 58318"/>
                  <a:gd name="connsiteX19" fmla="*/ 13128 w 59786"/>
                  <a:gd name="connsiteY19" fmla="*/ 18692 h 58318"/>
                  <a:gd name="connsiteX20" fmla="*/ 10586 w 59786"/>
                  <a:gd name="connsiteY20" fmla="*/ 28860 h 58318"/>
                  <a:gd name="connsiteX21" fmla="*/ 13128 w 59786"/>
                  <a:gd name="connsiteY21" fmla="*/ 39178 h 58318"/>
                  <a:gd name="connsiteX22" fmla="*/ 20306 w 59786"/>
                  <a:gd name="connsiteY22" fmla="*/ 46206 h 58318"/>
                  <a:gd name="connsiteX23" fmla="*/ 29876 w 59786"/>
                  <a:gd name="connsiteY23" fmla="*/ 48599 h 58318"/>
                  <a:gd name="connsiteX24" fmla="*/ 40194 w 59786"/>
                  <a:gd name="connsiteY24" fmla="*/ 46057 h 5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9786" h="58318">
                    <a:moveTo>
                      <a:pt x="14923" y="54730"/>
                    </a:moveTo>
                    <a:cubicBezTo>
                      <a:pt x="10368" y="52341"/>
                      <a:pt x="6583" y="48712"/>
                      <a:pt x="4007" y="44262"/>
                    </a:cubicBezTo>
                    <a:cubicBezTo>
                      <a:pt x="-1336" y="35009"/>
                      <a:pt x="-1336" y="23608"/>
                      <a:pt x="4007" y="14355"/>
                    </a:cubicBezTo>
                    <a:cubicBezTo>
                      <a:pt x="6561" y="9850"/>
                      <a:pt x="10348" y="6167"/>
                      <a:pt x="14923" y="3738"/>
                    </a:cubicBezTo>
                    <a:cubicBezTo>
                      <a:pt x="19526" y="1287"/>
                      <a:pt x="24661" y="3"/>
                      <a:pt x="29876" y="0"/>
                    </a:cubicBezTo>
                    <a:cubicBezTo>
                      <a:pt x="35091" y="9"/>
                      <a:pt x="40224" y="1292"/>
                      <a:pt x="44830" y="3738"/>
                    </a:cubicBezTo>
                    <a:cubicBezTo>
                      <a:pt x="49384" y="6126"/>
                      <a:pt x="53169" y="9756"/>
                      <a:pt x="55746" y="14206"/>
                    </a:cubicBezTo>
                    <a:cubicBezTo>
                      <a:pt x="58450" y="18720"/>
                      <a:pt x="59848" y="23897"/>
                      <a:pt x="59783" y="29159"/>
                    </a:cubicBezTo>
                    <a:cubicBezTo>
                      <a:pt x="59872" y="34424"/>
                      <a:pt x="58472" y="39607"/>
                      <a:pt x="55746" y="44113"/>
                    </a:cubicBezTo>
                    <a:cubicBezTo>
                      <a:pt x="53169" y="48563"/>
                      <a:pt x="49384" y="52192"/>
                      <a:pt x="44830" y="54580"/>
                    </a:cubicBezTo>
                    <a:cubicBezTo>
                      <a:pt x="40224" y="57026"/>
                      <a:pt x="35091" y="58309"/>
                      <a:pt x="29876" y="58318"/>
                    </a:cubicBezTo>
                    <a:cubicBezTo>
                      <a:pt x="24661" y="58315"/>
                      <a:pt x="19526" y="57031"/>
                      <a:pt x="14923" y="54580"/>
                    </a:cubicBezTo>
                    <a:moveTo>
                      <a:pt x="40792" y="46505"/>
                    </a:moveTo>
                    <a:cubicBezTo>
                      <a:pt x="43760" y="44884"/>
                      <a:pt x="46199" y="42445"/>
                      <a:pt x="47820" y="39477"/>
                    </a:cubicBezTo>
                    <a:cubicBezTo>
                      <a:pt x="49633" y="36344"/>
                      <a:pt x="50563" y="32778"/>
                      <a:pt x="50512" y="29159"/>
                    </a:cubicBezTo>
                    <a:cubicBezTo>
                      <a:pt x="50622" y="25485"/>
                      <a:pt x="49689" y="21856"/>
                      <a:pt x="47820" y="18692"/>
                    </a:cubicBezTo>
                    <a:cubicBezTo>
                      <a:pt x="46244" y="15653"/>
                      <a:pt x="43797" y="13155"/>
                      <a:pt x="40792" y="11514"/>
                    </a:cubicBezTo>
                    <a:cubicBezTo>
                      <a:pt x="37426" y="9793"/>
                      <a:pt x="33640" y="9066"/>
                      <a:pt x="29876" y="9421"/>
                    </a:cubicBezTo>
                    <a:cubicBezTo>
                      <a:pt x="26318" y="9320"/>
                      <a:pt x="22801" y="10200"/>
                      <a:pt x="19708" y="11963"/>
                    </a:cubicBezTo>
                    <a:cubicBezTo>
                      <a:pt x="16968" y="13597"/>
                      <a:pt x="14701" y="15916"/>
                      <a:pt x="13128" y="18692"/>
                    </a:cubicBezTo>
                    <a:cubicBezTo>
                      <a:pt x="11432" y="21811"/>
                      <a:pt x="10558" y="25310"/>
                      <a:pt x="10586" y="28860"/>
                    </a:cubicBezTo>
                    <a:cubicBezTo>
                      <a:pt x="10558" y="32458"/>
                      <a:pt x="11432" y="36005"/>
                      <a:pt x="13128" y="39178"/>
                    </a:cubicBezTo>
                    <a:cubicBezTo>
                      <a:pt x="14847" y="42122"/>
                      <a:pt x="17326" y="44551"/>
                      <a:pt x="20306" y="46206"/>
                    </a:cubicBezTo>
                    <a:cubicBezTo>
                      <a:pt x="23237" y="47814"/>
                      <a:pt x="26533" y="48638"/>
                      <a:pt x="29876" y="48599"/>
                    </a:cubicBezTo>
                    <a:cubicBezTo>
                      <a:pt x="33482" y="48703"/>
                      <a:pt x="37049" y="47824"/>
                      <a:pt x="40194" y="46057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C73A8FF2-0721-C12A-82FF-5F8F42F2013A}"/>
                  </a:ext>
                </a:extLst>
              </p:cNvPr>
              <p:cNvSpPr/>
              <p:nvPr/>
            </p:nvSpPr>
            <p:spPr>
              <a:xfrm>
                <a:off x="2821921" y="3208708"/>
                <a:ext cx="50403" cy="56907"/>
              </a:xfrm>
              <a:custGeom>
                <a:avLst/>
                <a:gdLst>
                  <a:gd name="connsiteX0" fmla="*/ 47701 w 50403"/>
                  <a:gd name="connsiteY0" fmla="*/ 32474 h 56907"/>
                  <a:gd name="connsiteX1" fmla="*/ 50393 w 50403"/>
                  <a:gd name="connsiteY1" fmla="*/ 41446 h 56907"/>
                  <a:gd name="connsiteX2" fmla="*/ 44711 w 50403"/>
                  <a:gd name="connsiteY2" fmla="*/ 52810 h 56907"/>
                  <a:gd name="connsiteX3" fmla="*/ 28262 w 50403"/>
                  <a:gd name="connsiteY3" fmla="*/ 56848 h 56907"/>
                  <a:gd name="connsiteX4" fmla="*/ 0 w 50403"/>
                  <a:gd name="connsiteY4" fmla="*/ 56848 h 56907"/>
                  <a:gd name="connsiteX5" fmla="*/ 0 w 50403"/>
                  <a:gd name="connsiteY5" fmla="*/ 25 h 56907"/>
                  <a:gd name="connsiteX6" fmla="*/ 26617 w 50403"/>
                  <a:gd name="connsiteY6" fmla="*/ 25 h 56907"/>
                  <a:gd name="connsiteX7" fmla="*/ 41570 w 50403"/>
                  <a:gd name="connsiteY7" fmla="*/ 4062 h 56907"/>
                  <a:gd name="connsiteX8" fmla="*/ 47103 w 50403"/>
                  <a:gd name="connsiteY8" fmla="*/ 14828 h 56907"/>
                  <a:gd name="connsiteX9" fmla="*/ 45159 w 50403"/>
                  <a:gd name="connsiteY9" fmla="*/ 22305 h 56907"/>
                  <a:gd name="connsiteX10" fmla="*/ 39776 w 50403"/>
                  <a:gd name="connsiteY10" fmla="*/ 27389 h 56907"/>
                  <a:gd name="connsiteX11" fmla="*/ 47253 w 50403"/>
                  <a:gd name="connsiteY11" fmla="*/ 32474 h 56907"/>
                  <a:gd name="connsiteX12" fmla="*/ 10467 w 50403"/>
                  <a:gd name="connsiteY12" fmla="*/ 8099 h 56907"/>
                  <a:gd name="connsiteX13" fmla="*/ 10467 w 50403"/>
                  <a:gd name="connsiteY13" fmla="*/ 23053 h 56907"/>
                  <a:gd name="connsiteX14" fmla="*/ 25421 w 50403"/>
                  <a:gd name="connsiteY14" fmla="*/ 23053 h 56907"/>
                  <a:gd name="connsiteX15" fmla="*/ 33944 w 50403"/>
                  <a:gd name="connsiteY15" fmla="*/ 21109 h 56907"/>
                  <a:gd name="connsiteX16" fmla="*/ 35592 w 50403"/>
                  <a:gd name="connsiteY16" fmla="*/ 11093 h 56907"/>
                  <a:gd name="connsiteX17" fmla="*/ 33944 w 50403"/>
                  <a:gd name="connsiteY17" fmla="*/ 9445 h 56907"/>
                  <a:gd name="connsiteX18" fmla="*/ 25421 w 50403"/>
                  <a:gd name="connsiteY18" fmla="*/ 7501 h 56907"/>
                  <a:gd name="connsiteX19" fmla="*/ 40374 w 50403"/>
                  <a:gd name="connsiteY19" fmla="*/ 40100 h 56907"/>
                  <a:gd name="connsiteX20" fmla="*/ 28112 w 50403"/>
                  <a:gd name="connsiteY20" fmla="*/ 31875 h 56907"/>
                  <a:gd name="connsiteX21" fmla="*/ 10467 w 50403"/>
                  <a:gd name="connsiteY21" fmla="*/ 31875 h 56907"/>
                  <a:gd name="connsiteX22" fmla="*/ 10467 w 50403"/>
                  <a:gd name="connsiteY22" fmla="*/ 48324 h 56907"/>
                  <a:gd name="connsiteX23" fmla="*/ 27514 w 50403"/>
                  <a:gd name="connsiteY23" fmla="*/ 48324 h 56907"/>
                  <a:gd name="connsiteX24" fmla="*/ 39776 w 50403"/>
                  <a:gd name="connsiteY24" fmla="*/ 40100 h 56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0403" h="56907">
                    <a:moveTo>
                      <a:pt x="47701" y="32474"/>
                    </a:moveTo>
                    <a:cubicBezTo>
                      <a:pt x="49536" y="35099"/>
                      <a:pt x="50480" y="38244"/>
                      <a:pt x="50393" y="41446"/>
                    </a:cubicBezTo>
                    <a:cubicBezTo>
                      <a:pt x="50574" y="45959"/>
                      <a:pt x="48430" y="50249"/>
                      <a:pt x="44711" y="52810"/>
                    </a:cubicBezTo>
                    <a:cubicBezTo>
                      <a:pt x="39773" y="55814"/>
                      <a:pt x="34029" y="57224"/>
                      <a:pt x="28262" y="56848"/>
                    </a:cubicBezTo>
                    <a:lnTo>
                      <a:pt x="0" y="56848"/>
                    </a:lnTo>
                    <a:lnTo>
                      <a:pt x="0" y="25"/>
                    </a:lnTo>
                    <a:lnTo>
                      <a:pt x="26617" y="25"/>
                    </a:lnTo>
                    <a:cubicBezTo>
                      <a:pt x="31899" y="-207"/>
                      <a:pt x="37123" y="1203"/>
                      <a:pt x="41570" y="4062"/>
                    </a:cubicBezTo>
                    <a:cubicBezTo>
                      <a:pt x="45114" y="6486"/>
                      <a:pt x="47196" y="10535"/>
                      <a:pt x="47103" y="14828"/>
                    </a:cubicBezTo>
                    <a:cubicBezTo>
                      <a:pt x="47121" y="17448"/>
                      <a:pt x="46451" y="20026"/>
                      <a:pt x="45159" y="22305"/>
                    </a:cubicBezTo>
                    <a:cubicBezTo>
                      <a:pt x="43819" y="24424"/>
                      <a:pt x="41968" y="26172"/>
                      <a:pt x="39776" y="27389"/>
                    </a:cubicBezTo>
                    <a:cubicBezTo>
                      <a:pt x="42734" y="28272"/>
                      <a:pt x="45345" y="30048"/>
                      <a:pt x="47253" y="32474"/>
                    </a:cubicBezTo>
                    <a:moveTo>
                      <a:pt x="10467" y="8099"/>
                    </a:moveTo>
                    <a:lnTo>
                      <a:pt x="10467" y="23053"/>
                    </a:lnTo>
                    <a:lnTo>
                      <a:pt x="25421" y="23053"/>
                    </a:lnTo>
                    <a:cubicBezTo>
                      <a:pt x="28392" y="23268"/>
                      <a:pt x="31360" y="22591"/>
                      <a:pt x="33944" y="21109"/>
                    </a:cubicBezTo>
                    <a:cubicBezTo>
                      <a:pt x="37165" y="18799"/>
                      <a:pt x="37903" y="14314"/>
                      <a:pt x="35592" y="11093"/>
                    </a:cubicBezTo>
                    <a:cubicBezTo>
                      <a:pt x="35136" y="10458"/>
                      <a:pt x="34579" y="9901"/>
                      <a:pt x="33944" y="9445"/>
                    </a:cubicBezTo>
                    <a:cubicBezTo>
                      <a:pt x="31360" y="7963"/>
                      <a:pt x="28392" y="7286"/>
                      <a:pt x="25421" y="7501"/>
                    </a:cubicBezTo>
                    <a:close/>
                    <a:moveTo>
                      <a:pt x="40374" y="40100"/>
                    </a:moveTo>
                    <a:cubicBezTo>
                      <a:pt x="40374" y="34567"/>
                      <a:pt x="36337" y="31875"/>
                      <a:pt x="28112" y="31875"/>
                    </a:cubicBezTo>
                    <a:lnTo>
                      <a:pt x="10467" y="31875"/>
                    </a:lnTo>
                    <a:lnTo>
                      <a:pt x="10467" y="48324"/>
                    </a:lnTo>
                    <a:lnTo>
                      <a:pt x="27514" y="48324"/>
                    </a:lnTo>
                    <a:cubicBezTo>
                      <a:pt x="35739" y="48324"/>
                      <a:pt x="39776" y="45483"/>
                      <a:pt x="39776" y="40100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F0F17648-67A4-C58A-20E7-E312BC27A210}"/>
                  </a:ext>
                </a:extLst>
              </p:cNvPr>
              <p:cNvSpPr/>
              <p:nvPr/>
            </p:nvSpPr>
            <p:spPr>
              <a:xfrm>
                <a:off x="2917772" y="3207372"/>
                <a:ext cx="45321" cy="58347"/>
              </a:xfrm>
              <a:custGeom>
                <a:avLst/>
                <a:gdLst>
                  <a:gd name="connsiteX0" fmla="*/ 9570 w 45321"/>
                  <a:gd name="connsiteY0" fmla="*/ 56838 h 58347"/>
                  <a:gd name="connsiteX1" fmla="*/ 0 w 45321"/>
                  <a:gd name="connsiteY1" fmla="*/ 51903 h 58347"/>
                  <a:gd name="connsiteX2" fmla="*/ 3589 w 45321"/>
                  <a:gd name="connsiteY2" fmla="*/ 43679 h 58347"/>
                  <a:gd name="connsiteX3" fmla="*/ 12112 w 45321"/>
                  <a:gd name="connsiteY3" fmla="*/ 48165 h 58347"/>
                  <a:gd name="connsiteX4" fmla="*/ 22281 w 45321"/>
                  <a:gd name="connsiteY4" fmla="*/ 49959 h 58347"/>
                  <a:gd name="connsiteX5" fmla="*/ 31701 w 45321"/>
                  <a:gd name="connsiteY5" fmla="*/ 47866 h 58347"/>
                  <a:gd name="connsiteX6" fmla="*/ 34841 w 45321"/>
                  <a:gd name="connsiteY6" fmla="*/ 42482 h 58347"/>
                  <a:gd name="connsiteX7" fmla="*/ 33197 w 45321"/>
                  <a:gd name="connsiteY7" fmla="*/ 38594 h 58347"/>
                  <a:gd name="connsiteX8" fmla="*/ 28711 w 45321"/>
                  <a:gd name="connsiteY8" fmla="*/ 36052 h 58347"/>
                  <a:gd name="connsiteX9" fmla="*/ 21383 w 45321"/>
                  <a:gd name="connsiteY9" fmla="*/ 33809 h 58347"/>
                  <a:gd name="connsiteX10" fmla="*/ 10916 w 45321"/>
                  <a:gd name="connsiteY10" fmla="*/ 30669 h 58347"/>
                  <a:gd name="connsiteX11" fmla="*/ 4037 w 45321"/>
                  <a:gd name="connsiteY11" fmla="*/ 25884 h 58347"/>
                  <a:gd name="connsiteX12" fmla="*/ 1196 w 45321"/>
                  <a:gd name="connsiteY12" fmla="*/ 16912 h 58347"/>
                  <a:gd name="connsiteX13" fmla="*/ 3738 w 45321"/>
                  <a:gd name="connsiteY13" fmla="*/ 8389 h 58347"/>
                  <a:gd name="connsiteX14" fmla="*/ 11365 w 45321"/>
                  <a:gd name="connsiteY14" fmla="*/ 2258 h 58347"/>
                  <a:gd name="connsiteX15" fmla="*/ 24075 w 45321"/>
                  <a:gd name="connsiteY15" fmla="*/ 15 h 58347"/>
                  <a:gd name="connsiteX16" fmla="*/ 34243 w 45321"/>
                  <a:gd name="connsiteY16" fmla="*/ 1360 h 58347"/>
                  <a:gd name="connsiteX17" fmla="*/ 42916 w 45321"/>
                  <a:gd name="connsiteY17" fmla="*/ 5099 h 58347"/>
                  <a:gd name="connsiteX18" fmla="*/ 39627 w 45321"/>
                  <a:gd name="connsiteY18" fmla="*/ 13174 h 58347"/>
                  <a:gd name="connsiteX19" fmla="*/ 31851 w 45321"/>
                  <a:gd name="connsiteY19" fmla="*/ 9884 h 58347"/>
                  <a:gd name="connsiteX20" fmla="*/ 23925 w 45321"/>
                  <a:gd name="connsiteY20" fmla="*/ 8837 h 58347"/>
                  <a:gd name="connsiteX21" fmla="*/ 14654 w 45321"/>
                  <a:gd name="connsiteY21" fmla="*/ 10931 h 58347"/>
                  <a:gd name="connsiteX22" fmla="*/ 11664 w 45321"/>
                  <a:gd name="connsiteY22" fmla="*/ 16463 h 58347"/>
                  <a:gd name="connsiteX23" fmla="*/ 13309 w 45321"/>
                  <a:gd name="connsiteY23" fmla="*/ 20501 h 58347"/>
                  <a:gd name="connsiteX24" fmla="*/ 17795 w 45321"/>
                  <a:gd name="connsiteY24" fmla="*/ 22893 h 58347"/>
                  <a:gd name="connsiteX25" fmla="*/ 25122 w 45321"/>
                  <a:gd name="connsiteY25" fmla="*/ 24837 h 58347"/>
                  <a:gd name="connsiteX26" fmla="*/ 35440 w 45321"/>
                  <a:gd name="connsiteY26" fmla="*/ 27977 h 58347"/>
                  <a:gd name="connsiteX27" fmla="*/ 42318 w 45321"/>
                  <a:gd name="connsiteY27" fmla="*/ 32763 h 58347"/>
                  <a:gd name="connsiteX28" fmla="*/ 45309 w 45321"/>
                  <a:gd name="connsiteY28" fmla="*/ 41585 h 58347"/>
                  <a:gd name="connsiteX29" fmla="*/ 42767 w 45321"/>
                  <a:gd name="connsiteY29" fmla="*/ 50108 h 58347"/>
                  <a:gd name="connsiteX30" fmla="*/ 34991 w 45321"/>
                  <a:gd name="connsiteY30" fmla="*/ 56090 h 58347"/>
                  <a:gd name="connsiteX31" fmla="*/ 22281 w 45321"/>
                  <a:gd name="connsiteY31" fmla="*/ 58333 h 58347"/>
                  <a:gd name="connsiteX32" fmla="*/ 9570 w 45321"/>
                  <a:gd name="connsiteY32" fmla="*/ 56538 h 58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21" h="58347">
                    <a:moveTo>
                      <a:pt x="9570" y="56838"/>
                    </a:moveTo>
                    <a:cubicBezTo>
                      <a:pt x="6061" y="55903"/>
                      <a:pt x="2796" y="54221"/>
                      <a:pt x="0" y="51903"/>
                    </a:cubicBezTo>
                    <a:lnTo>
                      <a:pt x="3589" y="43679"/>
                    </a:lnTo>
                    <a:cubicBezTo>
                      <a:pt x="6194" y="45587"/>
                      <a:pt x="9066" y="47097"/>
                      <a:pt x="12112" y="48165"/>
                    </a:cubicBezTo>
                    <a:cubicBezTo>
                      <a:pt x="15378" y="49325"/>
                      <a:pt x="18814" y="49932"/>
                      <a:pt x="22281" y="49959"/>
                    </a:cubicBezTo>
                    <a:cubicBezTo>
                      <a:pt x="25557" y="50174"/>
                      <a:pt x="28826" y="49449"/>
                      <a:pt x="31701" y="47866"/>
                    </a:cubicBezTo>
                    <a:cubicBezTo>
                      <a:pt x="33650" y="46777"/>
                      <a:pt x="34853" y="44715"/>
                      <a:pt x="34841" y="42482"/>
                    </a:cubicBezTo>
                    <a:cubicBezTo>
                      <a:pt x="34846" y="41017"/>
                      <a:pt x="34251" y="39613"/>
                      <a:pt x="33197" y="38594"/>
                    </a:cubicBezTo>
                    <a:cubicBezTo>
                      <a:pt x="31885" y="37456"/>
                      <a:pt x="30360" y="36592"/>
                      <a:pt x="28711" y="36052"/>
                    </a:cubicBezTo>
                    <a:lnTo>
                      <a:pt x="21383" y="33809"/>
                    </a:lnTo>
                    <a:cubicBezTo>
                      <a:pt x="17829" y="32993"/>
                      <a:pt x="14333" y="31945"/>
                      <a:pt x="10916" y="30669"/>
                    </a:cubicBezTo>
                    <a:cubicBezTo>
                      <a:pt x="8286" y="29624"/>
                      <a:pt x="5932" y="27986"/>
                      <a:pt x="4037" y="25884"/>
                    </a:cubicBezTo>
                    <a:cubicBezTo>
                      <a:pt x="2017" y="23346"/>
                      <a:pt x="1005" y="20151"/>
                      <a:pt x="1196" y="16912"/>
                    </a:cubicBezTo>
                    <a:cubicBezTo>
                      <a:pt x="1159" y="13879"/>
                      <a:pt x="2046" y="10907"/>
                      <a:pt x="3738" y="8389"/>
                    </a:cubicBezTo>
                    <a:cubicBezTo>
                      <a:pt x="5614" y="5631"/>
                      <a:pt x="8269" y="3497"/>
                      <a:pt x="11365" y="2258"/>
                    </a:cubicBezTo>
                    <a:cubicBezTo>
                      <a:pt x="15402" y="646"/>
                      <a:pt x="19730" y="-117"/>
                      <a:pt x="24075" y="15"/>
                    </a:cubicBezTo>
                    <a:cubicBezTo>
                      <a:pt x="27510" y="10"/>
                      <a:pt x="30928" y="463"/>
                      <a:pt x="34243" y="1360"/>
                    </a:cubicBezTo>
                    <a:cubicBezTo>
                      <a:pt x="37321" y="2118"/>
                      <a:pt x="40252" y="3382"/>
                      <a:pt x="42916" y="5099"/>
                    </a:cubicBezTo>
                    <a:lnTo>
                      <a:pt x="39627" y="13174"/>
                    </a:lnTo>
                    <a:cubicBezTo>
                      <a:pt x="37161" y="11801"/>
                      <a:pt x="34554" y="10697"/>
                      <a:pt x="31851" y="9884"/>
                    </a:cubicBezTo>
                    <a:cubicBezTo>
                      <a:pt x="29268" y="9183"/>
                      <a:pt x="26602" y="8830"/>
                      <a:pt x="23925" y="8837"/>
                    </a:cubicBezTo>
                    <a:cubicBezTo>
                      <a:pt x="20693" y="8560"/>
                      <a:pt x="17454" y="9292"/>
                      <a:pt x="14654" y="10931"/>
                    </a:cubicBezTo>
                    <a:cubicBezTo>
                      <a:pt x="12784" y="12148"/>
                      <a:pt x="11658" y="14231"/>
                      <a:pt x="11664" y="16463"/>
                    </a:cubicBezTo>
                    <a:cubicBezTo>
                      <a:pt x="11637" y="17978"/>
                      <a:pt x="12230" y="19436"/>
                      <a:pt x="13309" y="20501"/>
                    </a:cubicBezTo>
                    <a:cubicBezTo>
                      <a:pt x="14630" y="21589"/>
                      <a:pt x="16154" y="22403"/>
                      <a:pt x="17795" y="22893"/>
                    </a:cubicBezTo>
                    <a:lnTo>
                      <a:pt x="25122" y="24837"/>
                    </a:lnTo>
                    <a:cubicBezTo>
                      <a:pt x="28622" y="25673"/>
                      <a:pt x="32068" y="26721"/>
                      <a:pt x="35440" y="27977"/>
                    </a:cubicBezTo>
                    <a:cubicBezTo>
                      <a:pt x="38089" y="28987"/>
                      <a:pt x="40450" y="30629"/>
                      <a:pt x="42318" y="32763"/>
                    </a:cubicBezTo>
                    <a:cubicBezTo>
                      <a:pt x="44383" y="35227"/>
                      <a:pt x="45449" y="38375"/>
                      <a:pt x="45309" y="41585"/>
                    </a:cubicBezTo>
                    <a:cubicBezTo>
                      <a:pt x="45346" y="44618"/>
                      <a:pt x="44459" y="47590"/>
                      <a:pt x="42767" y="50108"/>
                    </a:cubicBezTo>
                    <a:cubicBezTo>
                      <a:pt x="40787" y="52791"/>
                      <a:pt x="38092" y="54864"/>
                      <a:pt x="34991" y="56090"/>
                    </a:cubicBezTo>
                    <a:cubicBezTo>
                      <a:pt x="30952" y="57702"/>
                      <a:pt x="26626" y="58465"/>
                      <a:pt x="22281" y="58333"/>
                    </a:cubicBezTo>
                    <a:cubicBezTo>
                      <a:pt x="17980" y="58334"/>
                      <a:pt x="13702" y="57730"/>
                      <a:pt x="9570" y="56538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FFD8F47D-C691-7C95-B8CA-0F677091A808}"/>
                  </a:ext>
                </a:extLst>
              </p:cNvPr>
              <p:cNvSpPr/>
              <p:nvPr/>
            </p:nvSpPr>
            <p:spPr>
              <a:xfrm>
                <a:off x="3012427" y="3208434"/>
                <a:ext cx="42467" cy="56823"/>
              </a:xfrm>
              <a:custGeom>
                <a:avLst/>
                <a:gdLst>
                  <a:gd name="connsiteX0" fmla="*/ 42468 w 42467"/>
                  <a:gd name="connsiteY0" fmla="*/ 48000 h 56823"/>
                  <a:gd name="connsiteX1" fmla="*/ 42468 w 42467"/>
                  <a:gd name="connsiteY1" fmla="*/ 56823 h 56823"/>
                  <a:gd name="connsiteX2" fmla="*/ 0 w 42467"/>
                  <a:gd name="connsiteY2" fmla="*/ 56823 h 56823"/>
                  <a:gd name="connsiteX3" fmla="*/ 0 w 42467"/>
                  <a:gd name="connsiteY3" fmla="*/ 0 h 56823"/>
                  <a:gd name="connsiteX4" fmla="*/ 41421 w 42467"/>
                  <a:gd name="connsiteY4" fmla="*/ 0 h 56823"/>
                  <a:gd name="connsiteX5" fmla="*/ 41421 w 42467"/>
                  <a:gd name="connsiteY5" fmla="*/ 8972 h 56823"/>
                  <a:gd name="connsiteX6" fmla="*/ 10467 w 42467"/>
                  <a:gd name="connsiteY6" fmla="*/ 8972 h 56823"/>
                  <a:gd name="connsiteX7" fmla="*/ 10467 w 42467"/>
                  <a:gd name="connsiteY7" fmla="*/ 23626 h 56823"/>
                  <a:gd name="connsiteX8" fmla="*/ 37832 w 42467"/>
                  <a:gd name="connsiteY8" fmla="*/ 23626 h 56823"/>
                  <a:gd name="connsiteX9" fmla="*/ 37832 w 42467"/>
                  <a:gd name="connsiteY9" fmla="*/ 32299 h 56823"/>
                  <a:gd name="connsiteX10" fmla="*/ 10467 w 42467"/>
                  <a:gd name="connsiteY10" fmla="*/ 32299 h 56823"/>
                  <a:gd name="connsiteX11" fmla="*/ 10467 w 42467"/>
                  <a:gd name="connsiteY11" fmla="*/ 48000 h 56823"/>
                  <a:gd name="connsiteX12" fmla="*/ 42468 w 42467"/>
                  <a:gd name="connsiteY12" fmla="*/ 4800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467" h="56823">
                    <a:moveTo>
                      <a:pt x="42468" y="48000"/>
                    </a:moveTo>
                    <a:lnTo>
                      <a:pt x="42468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972"/>
                    </a:lnTo>
                    <a:lnTo>
                      <a:pt x="10467" y="8972"/>
                    </a:lnTo>
                    <a:lnTo>
                      <a:pt x="10467" y="23626"/>
                    </a:lnTo>
                    <a:lnTo>
                      <a:pt x="37832" y="23626"/>
                    </a:lnTo>
                    <a:lnTo>
                      <a:pt x="37832" y="32299"/>
                    </a:lnTo>
                    <a:lnTo>
                      <a:pt x="10467" y="32299"/>
                    </a:lnTo>
                    <a:lnTo>
                      <a:pt x="10467" y="48000"/>
                    </a:lnTo>
                    <a:lnTo>
                      <a:pt x="42468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04E0CF59-2FE4-633A-66D7-BB784832E6CB}"/>
                  </a:ext>
                </a:extLst>
              </p:cNvPr>
              <p:cNvSpPr/>
              <p:nvPr/>
            </p:nvSpPr>
            <p:spPr>
              <a:xfrm>
                <a:off x="3105587" y="3208428"/>
                <a:ext cx="48897" cy="56828"/>
              </a:xfrm>
              <a:custGeom>
                <a:avLst/>
                <a:gdLst>
                  <a:gd name="connsiteX0" fmla="*/ 37234 w 48897"/>
                  <a:gd name="connsiteY0" fmla="*/ 56829 h 56828"/>
                  <a:gd name="connsiteX1" fmla="*/ 25570 w 48897"/>
                  <a:gd name="connsiteY1" fmla="*/ 40230 h 56828"/>
                  <a:gd name="connsiteX2" fmla="*/ 10617 w 48897"/>
                  <a:gd name="connsiteY2" fmla="*/ 40230 h 56828"/>
                  <a:gd name="connsiteX3" fmla="*/ 10617 w 48897"/>
                  <a:gd name="connsiteY3" fmla="*/ 56829 h 56828"/>
                  <a:gd name="connsiteX4" fmla="*/ 0 w 48897"/>
                  <a:gd name="connsiteY4" fmla="*/ 56829 h 56828"/>
                  <a:gd name="connsiteX5" fmla="*/ 0 w 48897"/>
                  <a:gd name="connsiteY5" fmla="*/ 6 h 56828"/>
                  <a:gd name="connsiteX6" fmla="*/ 23776 w 48897"/>
                  <a:gd name="connsiteY6" fmla="*/ 6 h 56828"/>
                  <a:gd name="connsiteX7" fmla="*/ 36636 w 48897"/>
                  <a:gd name="connsiteY7" fmla="*/ 2548 h 56828"/>
                  <a:gd name="connsiteX8" fmla="*/ 45010 w 48897"/>
                  <a:gd name="connsiteY8" fmla="*/ 9426 h 56828"/>
                  <a:gd name="connsiteX9" fmla="*/ 48000 w 48897"/>
                  <a:gd name="connsiteY9" fmla="*/ 20193 h 56828"/>
                  <a:gd name="connsiteX10" fmla="*/ 44860 w 48897"/>
                  <a:gd name="connsiteY10" fmla="*/ 31258 h 56828"/>
                  <a:gd name="connsiteX11" fmla="*/ 35888 w 48897"/>
                  <a:gd name="connsiteY11" fmla="*/ 38137 h 56828"/>
                  <a:gd name="connsiteX12" fmla="*/ 48898 w 48897"/>
                  <a:gd name="connsiteY12" fmla="*/ 56829 h 56828"/>
                  <a:gd name="connsiteX13" fmla="*/ 33346 w 48897"/>
                  <a:gd name="connsiteY13" fmla="*/ 11969 h 56828"/>
                  <a:gd name="connsiteX14" fmla="*/ 22879 w 48897"/>
                  <a:gd name="connsiteY14" fmla="*/ 8978 h 56828"/>
                  <a:gd name="connsiteX15" fmla="*/ 10617 w 48897"/>
                  <a:gd name="connsiteY15" fmla="*/ 8978 h 56828"/>
                  <a:gd name="connsiteX16" fmla="*/ 10617 w 48897"/>
                  <a:gd name="connsiteY16" fmla="*/ 31557 h 56828"/>
                  <a:gd name="connsiteX17" fmla="*/ 22879 w 48897"/>
                  <a:gd name="connsiteY17" fmla="*/ 31557 h 56828"/>
                  <a:gd name="connsiteX18" fmla="*/ 33346 w 48897"/>
                  <a:gd name="connsiteY18" fmla="*/ 28567 h 56828"/>
                  <a:gd name="connsiteX19" fmla="*/ 36935 w 48897"/>
                  <a:gd name="connsiteY19" fmla="*/ 20193 h 56828"/>
                  <a:gd name="connsiteX20" fmla="*/ 33346 w 48897"/>
                  <a:gd name="connsiteY20" fmla="*/ 11969 h 56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8897" h="56828">
                    <a:moveTo>
                      <a:pt x="37234" y="56829"/>
                    </a:moveTo>
                    <a:lnTo>
                      <a:pt x="25570" y="40230"/>
                    </a:lnTo>
                    <a:lnTo>
                      <a:pt x="10617" y="40230"/>
                    </a:lnTo>
                    <a:lnTo>
                      <a:pt x="10617" y="56829"/>
                    </a:lnTo>
                    <a:lnTo>
                      <a:pt x="0" y="56829"/>
                    </a:lnTo>
                    <a:lnTo>
                      <a:pt x="0" y="6"/>
                    </a:lnTo>
                    <a:lnTo>
                      <a:pt x="23776" y="6"/>
                    </a:lnTo>
                    <a:cubicBezTo>
                      <a:pt x="28195" y="-79"/>
                      <a:pt x="32582" y="788"/>
                      <a:pt x="36636" y="2548"/>
                    </a:cubicBezTo>
                    <a:cubicBezTo>
                      <a:pt x="40054" y="3947"/>
                      <a:pt x="42973" y="6345"/>
                      <a:pt x="45010" y="9426"/>
                    </a:cubicBezTo>
                    <a:cubicBezTo>
                      <a:pt x="47008" y="12659"/>
                      <a:pt x="48045" y="16393"/>
                      <a:pt x="48000" y="20193"/>
                    </a:cubicBezTo>
                    <a:cubicBezTo>
                      <a:pt x="48123" y="24117"/>
                      <a:pt x="47025" y="27984"/>
                      <a:pt x="44860" y="31258"/>
                    </a:cubicBezTo>
                    <a:cubicBezTo>
                      <a:pt x="42674" y="34443"/>
                      <a:pt x="39532" y="36853"/>
                      <a:pt x="35888" y="38137"/>
                    </a:cubicBezTo>
                    <a:lnTo>
                      <a:pt x="48898" y="56829"/>
                    </a:lnTo>
                    <a:close/>
                    <a:moveTo>
                      <a:pt x="33346" y="11969"/>
                    </a:moveTo>
                    <a:cubicBezTo>
                      <a:pt x="30308" y="9790"/>
                      <a:pt x="26608" y="8733"/>
                      <a:pt x="22879" y="8978"/>
                    </a:cubicBezTo>
                    <a:lnTo>
                      <a:pt x="10617" y="8978"/>
                    </a:lnTo>
                    <a:lnTo>
                      <a:pt x="10617" y="31557"/>
                    </a:lnTo>
                    <a:lnTo>
                      <a:pt x="22879" y="31557"/>
                    </a:lnTo>
                    <a:cubicBezTo>
                      <a:pt x="26620" y="31910"/>
                      <a:pt x="30357" y="30843"/>
                      <a:pt x="33346" y="28567"/>
                    </a:cubicBezTo>
                    <a:cubicBezTo>
                      <a:pt x="35816" y="26512"/>
                      <a:pt x="37150" y="23399"/>
                      <a:pt x="36935" y="20193"/>
                    </a:cubicBezTo>
                    <a:cubicBezTo>
                      <a:pt x="37126" y="17035"/>
                      <a:pt x="35791" y="13977"/>
                      <a:pt x="33346" y="11969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259885A2-3D2A-F459-1800-9F86908B6FD2}"/>
                  </a:ext>
                </a:extLst>
              </p:cNvPr>
              <p:cNvSpPr/>
              <p:nvPr/>
            </p:nvSpPr>
            <p:spPr>
              <a:xfrm>
                <a:off x="3195756" y="3208434"/>
                <a:ext cx="59963" cy="56823"/>
              </a:xfrm>
              <a:custGeom>
                <a:avLst/>
                <a:gdLst>
                  <a:gd name="connsiteX0" fmla="*/ 59963 w 59963"/>
                  <a:gd name="connsiteY0" fmla="*/ 0 h 56823"/>
                  <a:gd name="connsiteX1" fmla="*/ 35141 w 59963"/>
                  <a:gd name="connsiteY1" fmla="*/ 56823 h 56823"/>
                  <a:gd name="connsiteX2" fmla="*/ 24823 w 59963"/>
                  <a:gd name="connsiteY2" fmla="*/ 56823 h 56823"/>
                  <a:gd name="connsiteX3" fmla="*/ 0 w 59963"/>
                  <a:gd name="connsiteY3" fmla="*/ 0 h 56823"/>
                  <a:gd name="connsiteX4" fmla="*/ 11365 w 59963"/>
                  <a:gd name="connsiteY4" fmla="*/ 0 h 56823"/>
                  <a:gd name="connsiteX5" fmla="*/ 30355 w 59963"/>
                  <a:gd name="connsiteY5" fmla="*/ 43814 h 56823"/>
                  <a:gd name="connsiteX6" fmla="*/ 49346 w 59963"/>
                  <a:gd name="connsiteY6" fmla="*/ 0 h 56823"/>
                  <a:gd name="connsiteX7" fmla="*/ 59963 w 59963"/>
                  <a:gd name="connsiteY7" fmla="*/ 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63" h="56823">
                    <a:moveTo>
                      <a:pt x="59963" y="0"/>
                    </a:moveTo>
                    <a:lnTo>
                      <a:pt x="35141" y="56823"/>
                    </a:lnTo>
                    <a:lnTo>
                      <a:pt x="24823" y="56823"/>
                    </a:lnTo>
                    <a:lnTo>
                      <a:pt x="0" y="0"/>
                    </a:lnTo>
                    <a:lnTo>
                      <a:pt x="11365" y="0"/>
                    </a:lnTo>
                    <a:lnTo>
                      <a:pt x="30355" y="43814"/>
                    </a:lnTo>
                    <a:lnTo>
                      <a:pt x="49346" y="0"/>
                    </a:lnTo>
                    <a:lnTo>
                      <a:pt x="59963" y="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43828E6B-044E-B328-B8EC-ACFB155F3D7B}"/>
                  </a:ext>
                </a:extLst>
              </p:cNvPr>
              <p:cNvSpPr/>
              <p:nvPr/>
            </p:nvSpPr>
            <p:spPr>
              <a:xfrm>
                <a:off x="3290710" y="3208583"/>
                <a:ext cx="61608" cy="56673"/>
              </a:xfrm>
              <a:custGeom>
                <a:avLst/>
                <a:gdLst>
                  <a:gd name="connsiteX0" fmla="*/ 44860 w 61608"/>
                  <a:gd name="connsiteY0" fmla="*/ 43515 h 56673"/>
                  <a:gd name="connsiteX1" fmla="*/ 16598 w 61608"/>
                  <a:gd name="connsiteY1" fmla="*/ 43515 h 56673"/>
                  <a:gd name="connsiteX2" fmla="*/ 10916 w 61608"/>
                  <a:gd name="connsiteY2" fmla="*/ 56673 h 56673"/>
                  <a:gd name="connsiteX3" fmla="*/ 0 w 61608"/>
                  <a:gd name="connsiteY3" fmla="*/ 56673 h 56673"/>
                  <a:gd name="connsiteX4" fmla="*/ 25570 w 61608"/>
                  <a:gd name="connsiteY4" fmla="*/ 0 h 56673"/>
                  <a:gd name="connsiteX5" fmla="*/ 36038 w 61608"/>
                  <a:gd name="connsiteY5" fmla="*/ 0 h 56673"/>
                  <a:gd name="connsiteX6" fmla="*/ 61608 w 61608"/>
                  <a:gd name="connsiteY6" fmla="*/ 56673 h 56673"/>
                  <a:gd name="connsiteX7" fmla="*/ 50542 w 61608"/>
                  <a:gd name="connsiteY7" fmla="*/ 56673 h 56673"/>
                  <a:gd name="connsiteX8" fmla="*/ 41421 w 61608"/>
                  <a:gd name="connsiteY8" fmla="*/ 35290 h 56673"/>
                  <a:gd name="connsiteX9" fmla="*/ 30654 w 61608"/>
                  <a:gd name="connsiteY9" fmla="*/ 10467 h 56673"/>
                  <a:gd name="connsiteX10" fmla="*/ 20038 w 61608"/>
                  <a:gd name="connsiteY10" fmla="*/ 3529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08" h="56673">
                    <a:moveTo>
                      <a:pt x="44860" y="43515"/>
                    </a:moveTo>
                    <a:lnTo>
                      <a:pt x="16598" y="43515"/>
                    </a:lnTo>
                    <a:lnTo>
                      <a:pt x="10916" y="56673"/>
                    </a:lnTo>
                    <a:lnTo>
                      <a:pt x="0" y="56673"/>
                    </a:lnTo>
                    <a:lnTo>
                      <a:pt x="25570" y="0"/>
                    </a:lnTo>
                    <a:lnTo>
                      <a:pt x="36038" y="0"/>
                    </a:lnTo>
                    <a:lnTo>
                      <a:pt x="61608" y="56673"/>
                    </a:lnTo>
                    <a:lnTo>
                      <a:pt x="50542" y="56673"/>
                    </a:lnTo>
                    <a:close/>
                    <a:moveTo>
                      <a:pt x="41421" y="35290"/>
                    </a:moveTo>
                    <a:lnTo>
                      <a:pt x="30654" y="1046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18A1D807-8D18-BE8E-477F-F0186089195E}"/>
                  </a:ext>
                </a:extLst>
              </p:cNvPr>
              <p:cNvSpPr/>
              <p:nvPr/>
            </p:nvSpPr>
            <p:spPr>
              <a:xfrm>
                <a:off x="3388356" y="3208434"/>
                <a:ext cx="48150" cy="56823"/>
              </a:xfrm>
              <a:custGeom>
                <a:avLst/>
                <a:gdLst>
                  <a:gd name="connsiteX0" fmla="*/ 18841 w 48150"/>
                  <a:gd name="connsiteY0" fmla="*/ 8972 h 56823"/>
                  <a:gd name="connsiteX1" fmla="*/ 0 w 48150"/>
                  <a:gd name="connsiteY1" fmla="*/ 8972 h 56823"/>
                  <a:gd name="connsiteX2" fmla="*/ 0 w 48150"/>
                  <a:gd name="connsiteY2" fmla="*/ 0 h 56823"/>
                  <a:gd name="connsiteX3" fmla="*/ 48150 w 48150"/>
                  <a:gd name="connsiteY3" fmla="*/ 0 h 56823"/>
                  <a:gd name="connsiteX4" fmla="*/ 48150 w 48150"/>
                  <a:gd name="connsiteY4" fmla="*/ 8972 h 56823"/>
                  <a:gd name="connsiteX5" fmla="*/ 29309 w 48150"/>
                  <a:gd name="connsiteY5" fmla="*/ 8972 h 56823"/>
                  <a:gd name="connsiteX6" fmla="*/ 29309 w 48150"/>
                  <a:gd name="connsiteY6" fmla="*/ 56823 h 56823"/>
                  <a:gd name="connsiteX7" fmla="*/ 18841 w 48150"/>
                  <a:gd name="connsiteY7" fmla="*/ 56823 h 56823"/>
                  <a:gd name="connsiteX8" fmla="*/ 18841 w 48150"/>
                  <a:gd name="connsiteY8" fmla="*/ 8972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823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309" y="8972"/>
                    </a:lnTo>
                    <a:lnTo>
                      <a:pt x="29309" y="56823"/>
                    </a:lnTo>
                    <a:lnTo>
                      <a:pt x="18841" y="5682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59DE69CD-67DB-8711-4CCE-EA6DD2382BA5}"/>
                  </a:ext>
                </a:extLst>
              </p:cNvPr>
              <p:cNvSpPr/>
              <p:nvPr/>
            </p:nvSpPr>
            <p:spPr>
              <a:xfrm>
                <a:off x="3478291" y="3207686"/>
                <a:ext cx="59899" cy="58318"/>
              </a:xfrm>
              <a:custGeom>
                <a:avLst/>
                <a:gdLst>
                  <a:gd name="connsiteX0" fmla="*/ 15038 w 59899"/>
                  <a:gd name="connsiteY0" fmla="*/ 54580 h 58318"/>
                  <a:gd name="connsiteX1" fmla="*/ 3594 w 59899"/>
                  <a:gd name="connsiteY1" fmla="*/ 15182 h 58318"/>
                  <a:gd name="connsiteX2" fmla="*/ 15038 w 59899"/>
                  <a:gd name="connsiteY2" fmla="*/ 3738 h 58318"/>
                  <a:gd name="connsiteX3" fmla="*/ 29992 w 59899"/>
                  <a:gd name="connsiteY3" fmla="*/ 0 h 58318"/>
                  <a:gd name="connsiteX4" fmla="*/ 44945 w 59899"/>
                  <a:gd name="connsiteY4" fmla="*/ 3738 h 58318"/>
                  <a:gd name="connsiteX5" fmla="*/ 56011 w 59899"/>
                  <a:gd name="connsiteY5" fmla="*/ 14206 h 58318"/>
                  <a:gd name="connsiteX6" fmla="*/ 59898 w 59899"/>
                  <a:gd name="connsiteY6" fmla="*/ 29159 h 58318"/>
                  <a:gd name="connsiteX7" fmla="*/ 56011 w 59899"/>
                  <a:gd name="connsiteY7" fmla="*/ 44113 h 58318"/>
                  <a:gd name="connsiteX8" fmla="*/ 44945 w 59899"/>
                  <a:gd name="connsiteY8" fmla="*/ 54580 h 58318"/>
                  <a:gd name="connsiteX9" fmla="*/ 29992 w 59899"/>
                  <a:gd name="connsiteY9" fmla="*/ 58318 h 58318"/>
                  <a:gd name="connsiteX10" fmla="*/ 15038 w 59899"/>
                  <a:gd name="connsiteY10" fmla="*/ 54580 h 58318"/>
                  <a:gd name="connsiteX11" fmla="*/ 40908 w 59899"/>
                  <a:gd name="connsiteY11" fmla="*/ 46505 h 58318"/>
                  <a:gd name="connsiteX12" fmla="*/ 48085 w 59899"/>
                  <a:gd name="connsiteY12" fmla="*/ 39477 h 58318"/>
                  <a:gd name="connsiteX13" fmla="*/ 50627 w 59899"/>
                  <a:gd name="connsiteY13" fmla="*/ 29159 h 58318"/>
                  <a:gd name="connsiteX14" fmla="*/ 48085 w 59899"/>
                  <a:gd name="connsiteY14" fmla="*/ 18991 h 58318"/>
                  <a:gd name="connsiteX15" fmla="*/ 40908 w 59899"/>
                  <a:gd name="connsiteY15" fmla="*/ 11813 h 58318"/>
                  <a:gd name="connsiteX16" fmla="*/ 20571 w 59899"/>
                  <a:gd name="connsiteY16" fmla="*/ 11813 h 58318"/>
                  <a:gd name="connsiteX17" fmla="*/ 13393 w 59899"/>
                  <a:gd name="connsiteY17" fmla="*/ 18991 h 58318"/>
                  <a:gd name="connsiteX18" fmla="*/ 10851 w 59899"/>
                  <a:gd name="connsiteY18" fmla="*/ 29159 h 58318"/>
                  <a:gd name="connsiteX19" fmla="*/ 13393 w 59899"/>
                  <a:gd name="connsiteY19" fmla="*/ 39477 h 58318"/>
                  <a:gd name="connsiteX20" fmla="*/ 20571 w 59899"/>
                  <a:gd name="connsiteY20" fmla="*/ 46505 h 58318"/>
                  <a:gd name="connsiteX21" fmla="*/ 40908 w 59899"/>
                  <a:gd name="connsiteY21" fmla="*/ 46505 h 5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9899" h="58318">
                    <a:moveTo>
                      <a:pt x="15038" y="54580"/>
                    </a:moveTo>
                    <a:cubicBezTo>
                      <a:pt x="998" y="46861"/>
                      <a:pt x="-4125" y="29222"/>
                      <a:pt x="3594" y="15182"/>
                    </a:cubicBezTo>
                    <a:cubicBezTo>
                      <a:pt x="6246" y="10360"/>
                      <a:pt x="10214" y="6390"/>
                      <a:pt x="15038" y="3738"/>
                    </a:cubicBezTo>
                    <a:cubicBezTo>
                      <a:pt x="19644" y="1292"/>
                      <a:pt x="24777" y="9"/>
                      <a:pt x="29992" y="0"/>
                    </a:cubicBezTo>
                    <a:cubicBezTo>
                      <a:pt x="35209" y="-9"/>
                      <a:pt x="40347" y="1276"/>
                      <a:pt x="44945" y="3738"/>
                    </a:cubicBezTo>
                    <a:cubicBezTo>
                      <a:pt x="49540" y="6123"/>
                      <a:pt x="53374" y="9750"/>
                      <a:pt x="56011" y="14206"/>
                    </a:cubicBezTo>
                    <a:cubicBezTo>
                      <a:pt x="58595" y="18764"/>
                      <a:pt x="59934" y="23919"/>
                      <a:pt x="59898" y="29159"/>
                    </a:cubicBezTo>
                    <a:cubicBezTo>
                      <a:pt x="59934" y="34397"/>
                      <a:pt x="58595" y="39555"/>
                      <a:pt x="56011" y="44113"/>
                    </a:cubicBezTo>
                    <a:cubicBezTo>
                      <a:pt x="53374" y="48569"/>
                      <a:pt x="49540" y="52195"/>
                      <a:pt x="44945" y="54580"/>
                    </a:cubicBezTo>
                    <a:cubicBezTo>
                      <a:pt x="40347" y="57043"/>
                      <a:pt x="35209" y="58327"/>
                      <a:pt x="29992" y="58318"/>
                    </a:cubicBezTo>
                    <a:cubicBezTo>
                      <a:pt x="24777" y="58309"/>
                      <a:pt x="19644" y="57026"/>
                      <a:pt x="15038" y="54580"/>
                    </a:cubicBezTo>
                    <a:moveTo>
                      <a:pt x="40908" y="46505"/>
                    </a:moveTo>
                    <a:cubicBezTo>
                      <a:pt x="43888" y="44850"/>
                      <a:pt x="46367" y="42421"/>
                      <a:pt x="48085" y="39477"/>
                    </a:cubicBezTo>
                    <a:cubicBezTo>
                      <a:pt x="49781" y="36304"/>
                      <a:pt x="50656" y="32757"/>
                      <a:pt x="50627" y="29159"/>
                    </a:cubicBezTo>
                    <a:cubicBezTo>
                      <a:pt x="50656" y="25609"/>
                      <a:pt x="49781" y="22110"/>
                      <a:pt x="48085" y="18991"/>
                    </a:cubicBezTo>
                    <a:cubicBezTo>
                      <a:pt x="46414" y="15972"/>
                      <a:pt x="43927" y="13485"/>
                      <a:pt x="40908" y="11813"/>
                    </a:cubicBezTo>
                    <a:cubicBezTo>
                      <a:pt x="34549" y="8437"/>
                      <a:pt x="26929" y="8437"/>
                      <a:pt x="20571" y="11813"/>
                    </a:cubicBezTo>
                    <a:cubicBezTo>
                      <a:pt x="17488" y="13397"/>
                      <a:pt x="14977" y="15907"/>
                      <a:pt x="13393" y="18991"/>
                    </a:cubicBezTo>
                    <a:cubicBezTo>
                      <a:pt x="11630" y="22083"/>
                      <a:pt x="10751" y="25600"/>
                      <a:pt x="10851" y="29159"/>
                    </a:cubicBezTo>
                    <a:cubicBezTo>
                      <a:pt x="10747" y="32766"/>
                      <a:pt x="11626" y="36332"/>
                      <a:pt x="13393" y="39477"/>
                    </a:cubicBezTo>
                    <a:cubicBezTo>
                      <a:pt x="15034" y="42483"/>
                      <a:pt x="17532" y="44929"/>
                      <a:pt x="20571" y="46505"/>
                    </a:cubicBezTo>
                    <a:cubicBezTo>
                      <a:pt x="26923" y="49909"/>
                      <a:pt x="34555" y="49909"/>
                      <a:pt x="40908" y="4650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D651F2E4-A2AC-5A1B-0BF2-0DD12F050599}"/>
                  </a:ext>
                </a:extLst>
              </p:cNvPr>
              <p:cNvSpPr/>
              <p:nvPr/>
            </p:nvSpPr>
            <p:spPr>
              <a:xfrm>
                <a:off x="3589629" y="3208434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A6AC214D-97A6-DF5D-8347-4FAEEC090770}"/>
                  </a:ext>
                </a:extLst>
              </p:cNvPr>
              <p:cNvSpPr/>
              <p:nvPr/>
            </p:nvSpPr>
            <p:spPr>
              <a:xfrm>
                <a:off x="3654377" y="3208427"/>
                <a:ext cx="48598" cy="56829"/>
              </a:xfrm>
              <a:custGeom>
                <a:avLst/>
                <a:gdLst>
                  <a:gd name="connsiteX0" fmla="*/ 37234 w 48598"/>
                  <a:gd name="connsiteY0" fmla="*/ 56830 h 56829"/>
                  <a:gd name="connsiteX1" fmla="*/ 25570 w 48598"/>
                  <a:gd name="connsiteY1" fmla="*/ 40231 h 56829"/>
                  <a:gd name="connsiteX2" fmla="*/ 10617 w 48598"/>
                  <a:gd name="connsiteY2" fmla="*/ 40231 h 56829"/>
                  <a:gd name="connsiteX3" fmla="*/ 10617 w 48598"/>
                  <a:gd name="connsiteY3" fmla="*/ 56830 h 56829"/>
                  <a:gd name="connsiteX4" fmla="*/ 0 w 48598"/>
                  <a:gd name="connsiteY4" fmla="*/ 56830 h 56829"/>
                  <a:gd name="connsiteX5" fmla="*/ 0 w 48598"/>
                  <a:gd name="connsiteY5" fmla="*/ 7 h 56829"/>
                  <a:gd name="connsiteX6" fmla="*/ 23477 w 48598"/>
                  <a:gd name="connsiteY6" fmla="*/ 7 h 56829"/>
                  <a:gd name="connsiteX7" fmla="*/ 36187 w 48598"/>
                  <a:gd name="connsiteY7" fmla="*/ 2549 h 56829"/>
                  <a:gd name="connsiteX8" fmla="*/ 44711 w 48598"/>
                  <a:gd name="connsiteY8" fmla="*/ 9427 h 56829"/>
                  <a:gd name="connsiteX9" fmla="*/ 47552 w 48598"/>
                  <a:gd name="connsiteY9" fmla="*/ 20194 h 56829"/>
                  <a:gd name="connsiteX10" fmla="*/ 44412 w 48598"/>
                  <a:gd name="connsiteY10" fmla="*/ 31259 h 56829"/>
                  <a:gd name="connsiteX11" fmla="*/ 35440 w 48598"/>
                  <a:gd name="connsiteY11" fmla="*/ 38138 h 56829"/>
                  <a:gd name="connsiteX12" fmla="*/ 48599 w 48598"/>
                  <a:gd name="connsiteY12" fmla="*/ 56830 h 56829"/>
                  <a:gd name="connsiteX13" fmla="*/ 33346 w 48598"/>
                  <a:gd name="connsiteY13" fmla="*/ 11969 h 56829"/>
                  <a:gd name="connsiteX14" fmla="*/ 22879 w 48598"/>
                  <a:gd name="connsiteY14" fmla="*/ 8979 h 56829"/>
                  <a:gd name="connsiteX15" fmla="*/ 10617 w 48598"/>
                  <a:gd name="connsiteY15" fmla="*/ 8979 h 56829"/>
                  <a:gd name="connsiteX16" fmla="*/ 10617 w 48598"/>
                  <a:gd name="connsiteY16" fmla="*/ 31558 h 56829"/>
                  <a:gd name="connsiteX17" fmla="*/ 22879 w 48598"/>
                  <a:gd name="connsiteY17" fmla="*/ 31558 h 56829"/>
                  <a:gd name="connsiteX18" fmla="*/ 33346 w 48598"/>
                  <a:gd name="connsiteY18" fmla="*/ 28568 h 56829"/>
                  <a:gd name="connsiteX19" fmla="*/ 36935 w 48598"/>
                  <a:gd name="connsiteY19" fmla="*/ 20194 h 56829"/>
                  <a:gd name="connsiteX20" fmla="*/ 33346 w 48598"/>
                  <a:gd name="connsiteY20" fmla="*/ 11969 h 5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8598" h="56829">
                    <a:moveTo>
                      <a:pt x="37234" y="56830"/>
                    </a:moveTo>
                    <a:lnTo>
                      <a:pt x="25570" y="40231"/>
                    </a:lnTo>
                    <a:lnTo>
                      <a:pt x="10617" y="40231"/>
                    </a:lnTo>
                    <a:lnTo>
                      <a:pt x="10617" y="56830"/>
                    </a:lnTo>
                    <a:lnTo>
                      <a:pt x="0" y="56830"/>
                    </a:lnTo>
                    <a:lnTo>
                      <a:pt x="0" y="7"/>
                    </a:lnTo>
                    <a:lnTo>
                      <a:pt x="23477" y="7"/>
                    </a:lnTo>
                    <a:cubicBezTo>
                      <a:pt x="27849" y="-86"/>
                      <a:pt x="32187" y="783"/>
                      <a:pt x="36187" y="2549"/>
                    </a:cubicBezTo>
                    <a:cubicBezTo>
                      <a:pt x="39647" y="3947"/>
                      <a:pt x="42613" y="6341"/>
                      <a:pt x="44711" y="9427"/>
                    </a:cubicBezTo>
                    <a:cubicBezTo>
                      <a:pt x="46656" y="12675"/>
                      <a:pt x="47642" y="16409"/>
                      <a:pt x="47552" y="20194"/>
                    </a:cubicBezTo>
                    <a:cubicBezTo>
                      <a:pt x="47675" y="24118"/>
                      <a:pt x="46577" y="27985"/>
                      <a:pt x="44412" y="31259"/>
                    </a:cubicBezTo>
                    <a:cubicBezTo>
                      <a:pt x="42225" y="34444"/>
                      <a:pt x="39084" y="36853"/>
                      <a:pt x="35440" y="38138"/>
                    </a:cubicBezTo>
                    <a:lnTo>
                      <a:pt x="48599" y="56830"/>
                    </a:lnTo>
                    <a:close/>
                    <a:moveTo>
                      <a:pt x="33346" y="11969"/>
                    </a:moveTo>
                    <a:cubicBezTo>
                      <a:pt x="30308" y="9791"/>
                      <a:pt x="26608" y="8734"/>
                      <a:pt x="22879" y="8979"/>
                    </a:cubicBezTo>
                    <a:lnTo>
                      <a:pt x="10617" y="8979"/>
                    </a:lnTo>
                    <a:lnTo>
                      <a:pt x="10617" y="31558"/>
                    </a:lnTo>
                    <a:lnTo>
                      <a:pt x="22879" y="31558"/>
                    </a:lnTo>
                    <a:cubicBezTo>
                      <a:pt x="26620" y="31911"/>
                      <a:pt x="30357" y="30844"/>
                      <a:pt x="33346" y="28568"/>
                    </a:cubicBezTo>
                    <a:cubicBezTo>
                      <a:pt x="35815" y="26513"/>
                      <a:pt x="37150" y="23400"/>
                      <a:pt x="36935" y="20194"/>
                    </a:cubicBezTo>
                    <a:cubicBezTo>
                      <a:pt x="37126" y="17036"/>
                      <a:pt x="35791" y="13978"/>
                      <a:pt x="33346" y="11969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5E009099-D38F-8B50-CAA4-2DF09DE644EC}"/>
                  </a:ext>
                </a:extLst>
              </p:cNvPr>
              <p:cNvSpPr/>
              <p:nvPr/>
            </p:nvSpPr>
            <p:spPr>
              <a:xfrm>
                <a:off x="3752621" y="3208434"/>
                <a:ext cx="42617" cy="56823"/>
              </a:xfrm>
              <a:custGeom>
                <a:avLst/>
                <a:gdLst>
                  <a:gd name="connsiteX0" fmla="*/ 42617 w 42617"/>
                  <a:gd name="connsiteY0" fmla="*/ 48000 h 56823"/>
                  <a:gd name="connsiteX1" fmla="*/ 42617 w 42617"/>
                  <a:gd name="connsiteY1" fmla="*/ 56823 h 56823"/>
                  <a:gd name="connsiteX2" fmla="*/ 0 w 42617"/>
                  <a:gd name="connsiteY2" fmla="*/ 56823 h 56823"/>
                  <a:gd name="connsiteX3" fmla="*/ 0 w 42617"/>
                  <a:gd name="connsiteY3" fmla="*/ 0 h 56823"/>
                  <a:gd name="connsiteX4" fmla="*/ 41421 w 42617"/>
                  <a:gd name="connsiteY4" fmla="*/ 0 h 56823"/>
                  <a:gd name="connsiteX5" fmla="*/ 41421 w 42617"/>
                  <a:gd name="connsiteY5" fmla="*/ 8972 h 56823"/>
                  <a:gd name="connsiteX6" fmla="*/ 10617 w 42617"/>
                  <a:gd name="connsiteY6" fmla="*/ 8972 h 56823"/>
                  <a:gd name="connsiteX7" fmla="*/ 10617 w 42617"/>
                  <a:gd name="connsiteY7" fmla="*/ 23626 h 56823"/>
                  <a:gd name="connsiteX8" fmla="*/ 37982 w 42617"/>
                  <a:gd name="connsiteY8" fmla="*/ 23626 h 56823"/>
                  <a:gd name="connsiteX9" fmla="*/ 37982 w 42617"/>
                  <a:gd name="connsiteY9" fmla="*/ 32299 h 56823"/>
                  <a:gd name="connsiteX10" fmla="*/ 10617 w 42617"/>
                  <a:gd name="connsiteY10" fmla="*/ 32299 h 56823"/>
                  <a:gd name="connsiteX11" fmla="*/ 10617 w 42617"/>
                  <a:gd name="connsiteY11" fmla="*/ 48000 h 56823"/>
                  <a:gd name="connsiteX12" fmla="*/ 42617 w 42617"/>
                  <a:gd name="connsiteY12" fmla="*/ 4800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823">
                    <a:moveTo>
                      <a:pt x="42617" y="48000"/>
                    </a:moveTo>
                    <a:lnTo>
                      <a:pt x="42617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972"/>
                    </a:lnTo>
                    <a:lnTo>
                      <a:pt x="10617" y="8972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8000"/>
                    </a:lnTo>
                    <a:lnTo>
                      <a:pt x="42617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228E3D53-0C0B-120A-E7F2-310F4F2C0860}"/>
                  </a:ext>
                </a:extLst>
              </p:cNvPr>
              <p:cNvSpPr/>
              <p:nvPr/>
            </p:nvSpPr>
            <p:spPr>
              <a:xfrm>
                <a:off x="3906941" y="3208425"/>
                <a:ext cx="55782" cy="56989"/>
              </a:xfrm>
              <a:custGeom>
                <a:avLst/>
                <a:gdLst>
                  <a:gd name="connsiteX0" fmla="*/ 0 w 55782"/>
                  <a:gd name="connsiteY0" fmla="*/ 9 h 56989"/>
                  <a:gd name="connsiteX1" fmla="*/ 24823 w 55782"/>
                  <a:gd name="connsiteY1" fmla="*/ 9 h 56989"/>
                  <a:gd name="connsiteX2" fmla="*/ 40972 w 55782"/>
                  <a:gd name="connsiteY2" fmla="*/ 3597 h 56989"/>
                  <a:gd name="connsiteX3" fmla="*/ 51888 w 55782"/>
                  <a:gd name="connsiteY3" fmla="*/ 13616 h 56989"/>
                  <a:gd name="connsiteX4" fmla="*/ 55776 w 55782"/>
                  <a:gd name="connsiteY4" fmla="*/ 28570 h 56989"/>
                  <a:gd name="connsiteX5" fmla="*/ 51888 w 55782"/>
                  <a:gd name="connsiteY5" fmla="*/ 43523 h 56989"/>
                  <a:gd name="connsiteX6" fmla="*/ 40972 w 55782"/>
                  <a:gd name="connsiteY6" fmla="*/ 53392 h 56989"/>
                  <a:gd name="connsiteX7" fmla="*/ 24823 w 55782"/>
                  <a:gd name="connsiteY7" fmla="*/ 56981 h 56989"/>
                  <a:gd name="connsiteX8" fmla="*/ 0 w 55782"/>
                  <a:gd name="connsiteY8" fmla="*/ 56981 h 56989"/>
                  <a:gd name="connsiteX9" fmla="*/ 24524 w 55782"/>
                  <a:gd name="connsiteY9" fmla="*/ 47710 h 56989"/>
                  <a:gd name="connsiteX10" fmla="*/ 35440 w 55782"/>
                  <a:gd name="connsiteY10" fmla="*/ 45317 h 56989"/>
                  <a:gd name="connsiteX11" fmla="*/ 42767 w 55782"/>
                  <a:gd name="connsiteY11" fmla="*/ 38588 h 56989"/>
                  <a:gd name="connsiteX12" fmla="*/ 45309 w 55782"/>
                  <a:gd name="connsiteY12" fmla="*/ 28270 h 56989"/>
                  <a:gd name="connsiteX13" fmla="*/ 42767 w 55782"/>
                  <a:gd name="connsiteY13" fmla="*/ 18102 h 56989"/>
                  <a:gd name="connsiteX14" fmla="*/ 35440 w 55782"/>
                  <a:gd name="connsiteY14" fmla="*/ 11224 h 56989"/>
                  <a:gd name="connsiteX15" fmla="*/ 24524 w 55782"/>
                  <a:gd name="connsiteY15" fmla="*/ 8831 h 56989"/>
                  <a:gd name="connsiteX16" fmla="*/ 10766 w 55782"/>
                  <a:gd name="connsiteY16" fmla="*/ 8831 h 56989"/>
                  <a:gd name="connsiteX17" fmla="*/ 10766 w 55782"/>
                  <a:gd name="connsiteY17" fmla="*/ 47710 h 56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782" h="56989">
                    <a:moveTo>
                      <a:pt x="0" y="9"/>
                    </a:moveTo>
                    <a:lnTo>
                      <a:pt x="24823" y="9"/>
                    </a:lnTo>
                    <a:cubicBezTo>
                      <a:pt x="30417" y="-116"/>
                      <a:pt x="35957" y="1117"/>
                      <a:pt x="40972" y="3597"/>
                    </a:cubicBezTo>
                    <a:cubicBezTo>
                      <a:pt x="45500" y="5815"/>
                      <a:pt x="49291" y="9295"/>
                      <a:pt x="51888" y="13616"/>
                    </a:cubicBezTo>
                    <a:cubicBezTo>
                      <a:pt x="54541" y="18146"/>
                      <a:pt x="55887" y="23321"/>
                      <a:pt x="55776" y="28570"/>
                    </a:cubicBezTo>
                    <a:cubicBezTo>
                      <a:pt x="55863" y="33815"/>
                      <a:pt x="54520" y="38985"/>
                      <a:pt x="51888" y="43523"/>
                    </a:cubicBezTo>
                    <a:cubicBezTo>
                      <a:pt x="49282" y="47800"/>
                      <a:pt x="45490" y="51229"/>
                      <a:pt x="40972" y="53392"/>
                    </a:cubicBezTo>
                    <a:cubicBezTo>
                      <a:pt x="35957" y="55873"/>
                      <a:pt x="30417" y="57105"/>
                      <a:pt x="24823" y="56981"/>
                    </a:cubicBezTo>
                    <a:lnTo>
                      <a:pt x="0" y="56981"/>
                    </a:lnTo>
                    <a:close/>
                    <a:moveTo>
                      <a:pt x="24524" y="47710"/>
                    </a:moveTo>
                    <a:cubicBezTo>
                      <a:pt x="28304" y="47821"/>
                      <a:pt x="32053" y="47000"/>
                      <a:pt x="35440" y="45317"/>
                    </a:cubicBezTo>
                    <a:cubicBezTo>
                      <a:pt x="38535" y="43910"/>
                      <a:pt x="41101" y="41552"/>
                      <a:pt x="42767" y="38588"/>
                    </a:cubicBezTo>
                    <a:cubicBezTo>
                      <a:pt x="44480" y="35423"/>
                      <a:pt x="45357" y="31870"/>
                      <a:pt x="45309" y="28270"/>
                    </a:cubicBezTo>
                    <a:cubicBezTo>
                      <a:pt x="45379" y="24716"/>
                      <a:pt x="44501" y="21207"/>
                      <a:pt x="42767" y="18102"/>
                    </a:cubicBezTo>
                    <a:cubicBezTo>
                      <a:pt x="41064" y="15131"/>
                      <a:pt x="38513" y="12735"/>
                      <a:pt x="35440" y="11224"/>
                    </a:cubicBezTo>
                    <a:cubicBezTo>
                      <a:pt x="32053" y="9541"/>
                      <a:pt x="28304" y="8720"/>
                      <a:pt x="24524" y="8831"/>
                    </a:cubicBezTo>
                    <a:lnTo>
                      <a:pt x="10766" y="8831"/>
                    </a:lnTo>
                    <a:lnTo>
                      <a:pt x="10766" y="4771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9EEDDB17-BC93-0B3C-DE7B-C6DB841E9B13}"/>
                  </a:ext>
                </a:extLst>
              </p:cNvPr>
              <p:cNvSpPr/>
              <p:nvPr/>
            </p:nvSpPr>
            <p:spPr>
              <a:xfrm>
                <a:off x="4012960" y="3208434"/>
                <a:ext cx="42617" cy="56823"/>
              </a:xfrm>
              <a:custGeom>
                <a:avLst/>
                <a:gdLst>
                  <a:gd name="connsiteX0" fmla="*/ 42617 w 42617"/>
                  <a:gd name="connsiteY0" fmla="*/ 48000 h 56823"/>
                  <a:gd name="connsiteX1" fmla="*/ 42617 w 42617"/>
                  <a:gd name="connsiteY1" fmla="*/ 56823 h 56823"/>
                  <a:gd name="connsiteX2" fmla="*/ 0 w 42617"/>
                  <a:gd name="connsiteY2" fmla="*/ 56823 h 56823"/>
                  <a:gd name="connsiteX3" fmla="*/ 0 w 42617"/>
                  <a:gd name="connsiteY3" fmla="*/ 0 h 56823"/>
                  <a:gd name="connsiteX4" fmla="*/ 41421 w 42617"/>
                  <a:gd name="connsiteY4" fmla="*/ 0 h 56823"/>
                  <a:gd name="connsiteX5" fmla="*/ 41421 w 42617"/>
                  <a:gd name="connsiteY5" fmla="*/ 8972 h 56823"/>
                  <a:gd name="connsiteX6" fmla="*/ 10617 w 42617"/>
                  <a:gd name="connsiteY6" fmla="*/ 8972 h 56823"/>
                  <a:gd name="connsiteX7" fmla="*/ 10617 w 42617"/>
                  <a:gd name="connsiteY7" fmla="*/ 23626 h 56823"/>
                  <a:gd name="connsiteX8" fmla="*/ 37982 w 42617"/>
                  <a:gd name="connsiteY8" fmla="*/ 23626 h 56823"/>
                  <a:gd name="connsiteX9" fmla="*/ 37982 w 42617"/>
                  <a:gd name="connsiteY9" fmla="*/ 32299 h 56823"/>
                  <a:gd name="connsiteX10" fmla="*/ 10617 w 42617"/>
                  <a:gd name="connsiteY10" fmla="*/ 32299 h 56823"/>
                  <a:gd name="connsiteX11" fmla="*/ 10617 w 42617"/>
                  <a:gd name="connsiteY11" fmla="*/ 48000 h 56823"/>
                  <a:gd name="connsiteX12" fmla="*/ 42617 w 42617"/>
                  <a:gd name="connsiteY12" fmla="*/ 4800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823">
                    <a:moveTo>
                      <a:pt x="42617" y="48000"/>
                    </a:moveTo>
                    <a:lnTo>
                      <a:pt x="42617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972"/>
                    </a:lnTo>
                    <a:lnTo>
                      <a:pt x="10617" y="8972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8000"/>
                    </a:lnTo>
                    <a:lnTo>
                      <a:pt x="42617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B81952C1-57AD-5168-137D-873B7EB27A05}"/>
                  </a:ext>
                </a:extLst>
              </p:cNvPr>
              <p:cNvSpPr/>
              <p:nvPr/>
            </p:nvSpPr>
            <p:spPr>
              <a:xfrm>
                <a:off x="4101484" y="3207372"/>
                <a:ext cx="45321" cy="58347"/>
              </a:xfrm>
              <a:custGeom>
                <a:avLst/>
                <a:gdLst>
                  <a:gd name="connsiteX0" fmla="*/ 9570 w 45321"/>
                  <a:gd name="connsiteY0" fmla="*/ 56838 h 58347"/>
                  <a:gd name="connsiteX1" fmla="*/ 0 w 45321"/>
                  <a:gd name="connsiteY1" fmla="*/ 51903 h 58347"/>
                  <a:gd name="connsiteX2" fmla="*/ 3589 w 45321"/>
                  <a:gd name="connsiteY2" fmla="*/ 43679 h 58347"/>
                  <a:gd name="connsiteX3" fmla="*/ 12112 w 45321"/>
                  <a:gd name="connsiteY3" fmla="*/ 48165 h 58347"/>
                  <a:gd name="connsiteX4" fmla="*/ 22281 w 45321"/>
                  <a:gd name="connsiteY4" fmla="*/ 49959 h 58347"/>
                  <a:gd name="connsiteX5" fmla="*/ 31701 w 45321"/>
                  <a:gd name="connsiteY5" fmla="*/ 47866 h 58347"/>
                  <a:gd name="connsiteX6" fmla="*/ 34841 w 45321"/>
                  <a:gd name="connsiteY6" fmla="*/ 42482 h 58347"/>
                  <a:gd name="connsiteX7" fmla="*/ 33197 w 45321"/>
                  <a:gd name="connsiteY7" fmla="*/ 38594 h 58347"/>
                  <a:gd name="connsiteX8" fmla="*/ 28711 w 45321"/>
                  <a:gd name="connsiteY8" fmla="*/ 36052 h 58347"/>
                  <a:gd name="connsiteX9" fmla="*/ 21383 w 45321"/>
                  <a:gd name="connsiteY9" fmla="*/ 33809 h 58347"/>
                  <a:gd name="connsiteX10" fmla="*/ 10916 w 45321"/>
                  <a:gd name="connsiteY10" fmla="*/ 30669 h 58347"/>
                  <a:gd name="connsiteX11" fmla="*/ 4037 w 45321"/>
                  <a:gd name="connsiteY11" fmla="*/ 25884 h 58347"/>
                  <a:gd name="connsiteX12" fmla="*/ 1196 w 45321"/>
                  <a:gd name="connsiteY12" fmla="*/ 16912 h 58347"/>
                  <a:gd name="connsiteX13" fmla="*/ 3738 w 45321"/>
                  <a:gd name="connsiteY13" fmla="*/ 8389 h 58347"/>
                  <a:gd name="connsiteX14" fmla="*/ 11365 w 45321"/>
                  <a:gd name="connsiteY14" fmla="*/ 2258 h 58347"/>
                  <a:gd name="connsiteX15" fmla="*/ 24075 w 45321"/>
                  <a:gd name="connsiteY15" fmla="*/ 15 h 58347"/>
                  <a:gd name="connsiteX16" fmla="*/ 34243 w 45321"/>
                  <a:gd name="connsiteY16" fmla="*/ 1360 h 58347"/>
                  <a:gd name="connsiteX17" fmla="*/ 42916 w 45321"/>
                  <a:gd name="connsiteY17" fmla="*/ 5099 h 58347"/>
                  <a:gd name="connsiteX18" fmla="*/ 39627 w 45321"/>
                  <a:gd name="connsiteY18" fmla="*/ 13174 h 58347"/>
                  <a:gd name="connsiteX19" fmla="*/ 31851 w 45321"/>
                  <a:gd name="connsiteY19" fmla="*/ 9884 h 58347"/>
                  <a:gd name="connsiteX20" fmla="*/ 23925 w 45321"/>
                  <a:gd name="connsiteY20" fmla="*/ 8837 h 58347"/>
                  <a:gd name="connsiteX21" fmla="*/ 14654 w 45321"/>
                  <a:gd name="connsiteY21" fmla="*/ 10931 h 58347"/>
                  <a:gd name="connsiteX22" fmla="*/ 11664 w 45321"/>
                  <a:gd name="connsiteY22" fmla="*/ 16463 h 58347"/>
                  <a:gd name="connsiteX23" fmla="*/ 13309 w 45321"/>
                  <a:gd name="connsiteY23" fmla="*/ 20501 h 58347"/>
                  <a:gd name="connsiteX24" fmla="*/ 17794 w 45321"/>
                  <a:gd name="connsiteY24" fmla="*/ 22893 h 58347"/>
                  <a:gd name="connsiteX25" fmla="*/ 25122 w 45321"/>
                  <a:gd name="connsiteY25" fmla="*/ 24837 h 58347"/>
                  <a:gd name="connsiteX26" fmla="*/ 35440 w 45321"/>
                  <a:gd name="connsiteY26" fmla="*/ 27977 h 58347"/>
                  <a:gd name="connsiteX27" fmla="*/ 42318 w 45321"/>
                  <a:gd name="connsiteY27" fmla="*/ 32763 h 58347"/>
                  <a:gd name="connsiteX28" fmla="*/ 45309 w 45321"/>
                  <a:gd name="connsiteY28" fmla="*/ 41585 h 58347"/>
                  <a:gd name="connsiteX29" fmla="*/ 42767 w 45321"/>
                  <a:gd name="connsiteY29" fmla="*/ 50108 h 58347"/>
                  <a:gd name="connsiteX30" fmla="*/ 34991 w 45321"/>
                  <a:gd name="connsiteY30" fmla="*/ 56090 h 58347"/>
                  <a:gd name="connsiteX31" fmla="*/ 22281 w 45321"/>
                  <a:gd name="connsiteY31" fmla="*/ 58333 h 58347"/>
                  <a:gd name="connsiteX32" fmla="*/ 9570 w 45321"/>
                  <a:gd name="connsiteY32" fmla="*/ 56538 h 58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21" h="58347">
                    <a:moveTo>
                      <a:pt x="9570" y="56838"/>
                    </a:moveTo>
                    <a:cubicBezTo>
                      <a:pt x="6061" y="55903"/>
                      <a:pt x="2796" y="54221"/>
                      <a:pt x="0" y="51903"/>
                    </a:cubicBezTo>
                    <a:lnTo>
                      <a:pt x="3589" y="43679"/>
                    </a:lnTo>
                    <a:cubicBezTo>
                      <a:pt x="6194" y="45587"/>
                      <a:pt x="9065" y="47097"/>
                      <a:pt x="12112" y="48165"/>
                    </a:cubicBezTo>
                    <a:cubicBezTo>
                      <a:pt x="15378" y="49325"/>
                      <a:pt x="18814" y="49932"/>
                      <a:pt x="22281" y="49959"/>
                    </a:cubicBezTo>
                    <a:cubicBezTo>
                      <a:pt x="25557" y="50174"/>
                      <a:pt x="28826" y="49449"/>
                      <a:pt x="31701" y="47866"/>
                    </a:cubicBezTo>
                    <a:cubicBezTo>
                      <a:pt x="33650" y="46777"/>
                      <a:pt x="34853" y="44715"/>
                      <a:pt x="34841" y="42482"/>
                    </a:cubicBezTo>
                    <a:cubicBezTo>
                      <a:pt x="34846" y="41017"/>
                      <a:pt x="34251" y="39613"/>
                      <a:pt x="33197" y="38594"/>
                    </a:cubicBezTo>
                    <a:cubicBezTo>
                      <a:pt x="31885" y="37456"/>
                      <a:pt x="30360" y="36592"/>
                      <a:pt x="28711" y="36052"/>
                    </a:cubicBezTo>
                    <a:lnTo>
                      <a:pt x="21383" y="33809"/>
                    </a:lnTo>
                    <a:cubicBezTo>
                      <a:pt x="17829" y="32993"/>
                      <a:pt x="14333" y="31945"/>
                      <a:pt x="10916" y="30669"/>
                    </a:cubicBezTo>
                    <a:cubicBezTo>
                      <a:pt x="8286" y="29624"/>
                      <a:pt x="5932" y="27986"/>
                      <a:pt x="4037" y="25884"/>
                    </a:cubicBezTo>
                    <a:cubicBezTo>
                      <a:pt x="2017" y="23346"/>
                      <a:pt x="1005" y="20151"/>
                      <a:pt x="1196" y="16912"/>
                    </a:cubicBezTo>
                    <a:cubicBezTo>
                      <a:pt x="1159" y="13879"/>
                      <a:pt x="2046" y="10907"/>
                      <a:pt x="3738" y="8389"/>
                    </a:cubicBezTo>
                    <a:cubicBezTo>
                      <a:pt x="5613" y="5631"/>
                      <a:pt x="8269" y="3497"/>
                      <a:pt x="11365" y="2258"/>
                    </a:cubicBezTo>
                    <a:cubicBezTo>
                      <a:pt x="15403" y="646"/>
                      <a:pt x="19729" y="-117"/>
                      <a:pt x="24075" y="15"/>
                    </a:cubicBezTo>
                    <a:cubicBezTo>
                      <a:pt x="27510" y="10"/>
                      <a:pt x="30928" y="463"/>
                      <a:pt x="34243" y="1360"/>
                    </a:cubicBezTo>
                    <a:cubicBezTo>
                      <a:pt x="37321" y="2118"/>
                      <a:pt x="40252" y="3382"/>
                      <a:pt x="42916" y="5099"/>
                    </a:cubicBezTo>
                    <a:lnTo>
                      <a:pt x="39627" y="13174"/>
                    </a:lnTo>
                    <a:cubicBezTo>
                      <a:pt x="37161" y="11801"/>
                      <a:pt x="34554" y="10697"/>
                      <a:pt x="31851" y="9884"/>
                    </a:cubicBezTo>
                    <a:cubicBezTo>
                      <a:pt x="29268" y="9183"/>
                      <a:pt x="26602" y="8830"/>
                      <a:pt x="23925" y="8837"/>
                    </a:cubicBezTo>
                    <a:cubicBezTo>
                      <a:pt x="20692" y="8560"/>
                      <a:pt x="17454" y="9292"/>
                      <a:pt x="14654" y="10931"/>
                    </a:cubicBezTo>
                    <a:cubicBezTo>
                      <a:pt x="12784" y="12148"/>
                      <a:pt x="11658" y="14231"/>
                      <a:pt x="11664" y="16463"/>
                    </a:cubicBezTo>
                    <a:cubicBezTo>
                      <a:pt x="11637" y="17978"/>
                      <a:pt x="12230" y="19436"/>
                      <a:pt x="13309" y="20501"/>
                    </a:cubicBezTo>
                    <a:cubicBezTo>
                      <a:pt x="14630" y="21589"/>
                      <a:pt x="16156" y="22403"/>
                      <a:pt x="17794" y="22893"/>
                    </a:cubicBezTo>
                    <a:lnTo>
                      <a:pt x="25122" y="24837"/>
                    </a:lnTo>
                    <a:cubicBezTo>
                      <a:pt x="28622" y="25673"/>
                      <a:pt x="32068" y="26721"/>
                      <a:pt x="35440" y="27977"/>
                    </a:cubicBezTo>
                    <a:cubicBezTo>
                      <a:pt x="38089" y="28987"/>
                      <a:pt x="40450" y="30629"/>
                      <a:pt x="42318" y="32763"/>
                    </a:cubicBezTo>
                    <a:cubicBezTo>
                      <a:pt x="44383" y="35227"/>
                      <a:pt x="45449" y="38375"/>
                      <a:pt x="45309" y="41585"/>
                    </a:cubicBezTo>
                    <a:cubicBezTo>
                      <a:pt x="45346" y="44618"/>
                      <a:pt x="44459" y="47590"/>
                      <a:pt x="42767" y="50108"/>
                    </a:cubicBezTo>
                    <a:cubicBezTo>
                      <a:pt x="40787" y="52791"/>
                      <a:pt x="38092" y="54864"/>
                      <a:pt x="34991" y="56090"/>
                    </a:cubicBezTo>
                    <a:cubicBezTo>
                      <a:pt x="30954" y="57702"/>
                      <a:pt x="26626" y="58465"/>
                      <a:pt x="22281" y="58333"/>
                    </a:cubicBezTo>
                    <a:cubicBezTo>
                      <a:pt x="17980" y="58334"/>
                      <a:pt x="13702" y="57730"/>
                      <a:pt x="9570" y="56538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0C0A064E-8DE7-82B1-51BA-23DC3982BC1C}"/>
                  </a:ext>
                </a:extLst>
              </p:cNvPr>
              <p:cNvSpPr/>
              <p:nvPr/>
            </p:nvSpPr>
            <p:spPr>
              <a:xfrm>
                <a:off x="4251617" y="3208434"/>
                <a:ext cx="62056" cy="56823"/>
              </a:xfrm>
              <a:custGeom>
                <a:avLst/>
                <a:gdLst>
                  <a:gd name="connsiteX0" fmla="*/ 52187 w 62056"/>
                  <a:gd name="connsiteY0" fmla="*/ 56823 h 56823"/>
                  <a:gd name="connsiteX1" fmla="*/ 52038 w 62056"/>
                  <a:gd name="connsiteY1" fmla="*/ 19140 h 56823"/>
                  <a:gd name="connsiteX2" fmla="*/ 33496 w 62056"/>
                  <a:gd name="connsiteY2" fmla="*/ 50393 h 56823"/>
                  <a:gd name="connsiteX3" fmla="*/ 28711 w 62056"/>
                  <a:gd name="connsiteY3" fmla="*/ 50393 h 56823"/>
                  <a:gd name="connsiteX4" fmla="*/ 10019 w 62056"/>
                  <a:gd name="connsiteY4" fmla="*/ 19739 h 56823"/>
                  <a:gd name="connsiteX5" fmla="*/ 10019 w 62056"/>
                  <a:gd name="connsiteY5" fmla="*/ 56823 h 56823"/>
                  <a:gd name="connsiteX6" fmla="*/ 0 w 62056"/>
                  <a:gd name="connsiteY6" fmla="*/ 56823 h 56823"/>
                  <a:gd name="connsiteX7" fmla="*/ 0 w 62056"/>
                  <a:gd name="connsiteY7" fmla="*/ 0 h 56823"/>
                  <a:gd name="connsiteX8" fmla="*/ 8673 w 62056"/>
                  <a:gd name="connsiteY8" fmla="*/ 0 h 56823"/>
                  <a:gd name="connsiteX9" fmla="*/ 31253 w 62056"/>
                  <a:gd name="connsiteY9" fmla="*/ 37683 h 56823"/>
                  <a:gd name="connsiteX10" fmla="*/ 53384 w 62056"/>
                  <a:gd name="connsiteY10" fmla="*/ 0 h 56823"/>
                  <a:gd name="connsiteX11" fmla="*/ 62057 w 62056"/>
                  <a:gd name="connsiteY11" fmla="*/ 0 h 56823"/>
                  <a:gd name="connsiteX12" fmla="*/ 62057 w 62056"/>
                  <a:gd name="connsiteY12" fmla="*/ 56823 h 56823"/>
                  <a:gd name="connsiteX13" fmla="*/ 52187 w 62056"/>
                  <a:gd name="connsiteY1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056" h="56823">
                    <a:moveTo>
                      <a:pt x="52187" y="56823"/>
                    </a:moveTo>
                    <a:lnTo>
                      <a:pt x="52038" y="19140"/>
                    </a:lnTo>
                    <a:lnTo>
                      <a:pt x="33496" y="50393"/>
                    </a:lnTo>
                    <a:lnTo>
                      <a:pt x="28711" y="50393"/>
                    </a:lnTo>
                    <a:lnTo>
                      <a:pt x="10019" y="19739"/>
                    </a:lnTo>
                    <a:lnTo>
                      <a:pt x="10019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253" y="37683"/>
                    </a:lnTo>
                    <a:lnTo>
                      <a:pt x="53384" y="0"/>
                    </a:lnTo>
                    <a:lnTo>
                      <a:pt x="62057" y="0"/>
                    </a:lnTo>
                    <a:lnTo>
                      <a:pt x="62057" y="56823"/>
                    </a:lnTo>
                    <a:lnTo>
                      <a:pt x="52187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DCF3C894-14C1-1FA6-A832-187E58D6D1FD}"/>
                  </a:ext>
                </a:extLst>
              </p:cNvPr>
              <p:cNvSpPr/>
              <p:nvPr/>
            </p:nvSpPr>
            <p:spPr>
              <a:xfrm>
                <a:off x="4367954" y="3192433"/>
                <a:ext cx="42617" cy="72524"/>
              </a:xfrm>
              <a:custGeom>
                <a:avLst/>
                <a:gdLst>
                  <a:gd name="connsiteX0" fmla="*/ 42617 w 42617"/>
                  <a:gd name="connsiteY0" fmla="*/ 63702 h 72524"/>
                  <a:gd name="connsiteX1" fmla="*/ 42617 w 42617"/>
                  <a:gd name="connsiteY1" fmla="*/ 72524 h 72524"/>
                  <a:gd name="connsiteX2" fmla="*/ 0 w 42617"/>
                  <a:gd name="connsiteY2" fmla="*/ 72524 h 72524"/>
                  <a:gd name="connsiteX3" fmla="*/ 0 w 42617"/>
                  <a:gd name="connsiteY3" fmla="*/ 15701 h 72524"/>
                  <a:gd name="connsiteX4" fmla="*/ 41421 w 42617"/>
                  <a:gd name="connsiteY4" fmla="*/ 15701 h 72524"/>
                  <a:gd name="connsiteX5" fmla="*/ 41421 w 42617"/>
                  <a:gd name="connsiteY5" fmla="*/ 24673 h 72524"/>
                  <a:gd name="connsiteX6" fmla="*/ 10617 w 42617"/>
                  <a:gd name="connsiteY6" fmla="*/ 24673 h 72524"/>
                  <a:gd name="connsiteX7" fmla="*/ 10617 w 42617"/>
                  <a:gd name="connsiteY7" fmla="*/ 39627 h 72524"/>
                  <a:gd name="connsiteX8" fmla="*/ 37982 w 42617"/>
                  <a:gd name="connsiteY8" fmla="*/ 39627 h 72524"/>
                  <a:gd name="connsiteX9" fmla="*/ 37982 w 42617"/>
                  <a:gd name="connsiteY9" fmla="*/ 48748 h 72524"/>
                  <a:gd name="connsiteX10" fmla="*/ 10617 w 42617"/>
                  <a:gd name="connsiteY10" fmla="*/ 48748 h 72524"/>
                  <a:gd name="connsiteX11" fmla="*/ 10617 w 42617"/>
                  <a:gd name="connsiteY11" fmla="*/ 63702 h 72524"/>
                  <a:gd name="connsiteX12" fmla="*/ 24972 w 42617"/>
                  <a:gd name="connsiteY12" fmla="*/ 0 h 72524"/>
                  <a:gd name="connsiteX13" fmla="*/ 36935 w 42617"/>
                  <a:gd name="connsiteY13" fmla="*/ 0 h 72524"/>
                  <a:gd name="connsiteX14" fmla="*/ 22879 w 42617"/>
                  <a:gd name="connsiteY14" fmla="*/ 11215 h 72524"/>
                  <a:gd name="connsiteX15" fmla="*/ 14056 w 42617"/>
                  <a:gd name="connsiteY15" fmla="*/ 11215 h 72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2617" h="72524">
                    <a:moveTo>
                      <a:pt x="42617" y="63702"/>
                    </a:moveTo>
                    <a:lnTo>
                      <a:pt x="42617" y="72524"/>
                    </a:lnTo>
                    <a:lnTo>
                      <a:pt x="0" y="72524"/>
                    </a:lnTo>
                    <a:lnTo>
                      <a:pt x="0" y="15701"/>
                    </a:lnTo>
                    <a:lnTo>
                      <a:pt x="41421" y="15701"/>
                    </a:lnTo>
                    <a:lnTo>
                      <a:pt x="41421" y="24673"/>
                    </a:lnTo>
                    <a:lnTo>
                      <a:pt x="10617" y="24673"/>
                    </a:lnTo>
                    <a:lnTo>
                      <a:pt x="10617" y="39627"/>
                    </a:lnTo>
                    <a:lnTo>
                      <a:pt x="37982" y="39627"/>
                    </a:lnTo>
                    <a:lnTo>
                      <a:pt x="37982" y="48748"/>
                    </a:lnTo>
                    <a:lnTo>
                      <a:pt x="10617" y="48748"/>
                    </a:lnTo>
                    <a:lnTo>
                      <a:pt x="10617" y="63702"/>
                    </a:lnTo>
                    <a:close/>
                    <a:moveTo>
                      <a:pt x="24972" y="0"/>
                    </a:moveTo>
                    <a:lnTo>
                      <a:pt x="36935" y="0"/>
                    </a:lnTo>
                    <a:lnTo>
                      <a:pt x="22879" y="11215"/>
                    </a:lnTo>
                    <a:lnTo>
                      <a:pt x="14056" y="11215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D1C51626-2882-B935-9A6A-EA8A5F2434E1}"/>
                  </a:ext>
                </a:extLst>
              </p:cNvPr>
              <p:cNvSpPr/>
              <p:nvPr/>
            </p:nvSpPr>
            <p:spPr>
              <a:xfrm>
                <a:off x="4453936" y="3208434"/>
                <a:ext cx="48150" cy="56823"/>
              </a:xfrm>
              <a:custGeom>
                <a:avLst/>
                <a:gdLst>
                  <a:gd name="connsiteX0" fmla="*/ 18841 w 48150"/>
                  <a:gd name="connsiteY0" fmla="*/ 8972 h 56823"/>
                  <a:gd name="connsiteX1" fmla="*/ 0 w 48150"/>
                  <a:gd name="connsiteY1" fmla="*/ 8972 h 56823"/>
                  <a:gd name="connsiteX2" fmla="*/ 0 w 48150"/>
                  <a:gd name="connsiteY2" fmla="*/ 0 h 56823"/>
                  <a:gd name="connsiteX3" fmla="*/ 48150 w 48150"/>
                  <a:gd name="connsiteY3" fmla="*/ 0 h 56823"/>
                  <a:gd name="connsiteX4" fmla="*/ 48150 w 48150"/>
                  <a:gd name="connsiteY4" fmla="*/ 8972 h 56823"/>
                  <a:gd name="connsiteX5" fmla="*/ 29309 w 48150"/>
                  <a:gd name="connsiteY5" fmla="*/ 8972 h 56823"/>
                  <a:gd name="connsiteX6" fmla="*/ 29309 w 48150"/>
                  <a:gd name="connsiteY6" fmla="*/ 56823 h 56823"/>
                  <a:gd name="connsiteX7" fmla="*/ 18841 w 48150"/>
                  <a:gd name="connsiteY7" fmla="*/ 56823 h 56823"/>
                  <a:gd name="connsiteX8" fmla="*/ 18841 w 48150"/>
                  <a:gd name="connsiteY8" fmla="*/ 8972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823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309" y="8972"/>
                    </a:lnTo>
                    <a:lnTo>
                      <a:pt x="29309" y="56823"/>
                    </a:lnTo>
                    <a:lnTo>
                      <a:pt x="18841" y="5682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A0D9714F-4F17-605C-00E8-69602D43402E}"/>
                  </a:ext>
                </a:extLst>
              </p:cNvPr>
              <p:cNvSpPr/>
              <p:nvPr/>
            </p:nvSpPr>
            <p:spPr>
              <a:xfrm>
                <a:off x="4548891" y="3208434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DE4AD717-927E-CF0E-0352-7D1911100DF2}"/>
                  </a:ext>
                </a:extLst>
              </p:cNvPr>
              <p:cNvSpPr/>
              <p:nvPr/>
            </p:nvSpPr>
            <p:spPr>
              <a:xfrm>
                <a:off x="4613639" y="3208434"/>
                <a:ext cx="42617" cy="56823"/>
              </a:xfrm>
              <a:custGeom>
                <a:avLst/>
                <a:gdLst>
                  <a:gd name="connsiteX0" fmla="*/ 42617 w 42617"/>
                  <a:gd name="connsiteY0" fmla="*/ 48000 h 56823"/>
                  <a:gd name="connsiteX1" fmla="*/ 42617 w 42617"/>
                  <a:gd name="connsiteY1" fmla="*/ 56823 h 56823"/>
                  <a:gd name="connsiteX2" fmla="*/ 0 w 42617"/>
                  <a:gd name="connsiteY2" fmla="*/ 56823 h 56823"/>
                  <a:gd name="connsiteX3" fmla="*/ 0 w 42617"/>
                  <a:gd name="connsiteY3" fmla="*/ 0 h 56823"/>
                  <a:gd name="connsiteX4" fmla="*/ 41421 w 42617"/>
                  <a:gd name="connsiteY4" fmla="*/ 0 h 56823"/>
                  <a:gd name="connsiteX5" fmla="*/ 41421 w 42617"/>
                  <a:gd name="connsiteY5" fmla="*/ 8972 h 56823"/>
                  <a:gd name="connsiteX6" fmla="*/ 10617 w 42617"/>
                  <a:gd name="connsiteY6" fmla="*/ 8972 h 56823"/>
                  <a:gd name="connsiteX7" fmla="*/ 10617 w 42617"/>
                  <a:gd name="connsiteY7" fmla="*/ 23626 h 56823"/>
                  <a:gd name="connsiteX8" fmla="*/ 37982 w 42617"/>
                  <a:gd name="connsiteY8" fmla="*/ 23626 h 56823"/>
                  <a:gd name="connsiteX9" fmla="*/ 37982 w 42617"/>
                  <a:gd name="connsiteY9" fmla="*/ 32299 h 56823"/>
                  <a:gd name="connsiteX10" fmla="*/ 10617 w 42617"/>
                  <a:gd name="connsiteY10" fmla="*/ 32299 h 56823"/>
                  <a:gd name="connsiteX11" fmla="*/ 10617 w 42617"/>
                  <a:gd name="connsiteY11" fmla="*/ 48000 h 56823"/>
                  <a:gd name="connsiteX12" fmla="*/ 42617 w 42617"/>
                  <a:gd name="connsiteY12" fmla="*/ 4800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823">
                    <a:moveTo>
                      <a:pt x="42617" y="48000"/>
                    </a:moveTo>
                    <a:lnTo>
                      <a:pt x="42617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972"/>
                    </a:lnTo>
                    <a:lnTo>
                      <a:pt x="10617" y="8972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8000"/>
                    </a:lnTo>
                    <a:lnTo>
                      <a:pt x="42617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3D9E2964-EA06-2C57-6429-A3B0AAE88B9E}"/>
                  </a:ext>
                </a:extLst>
              </p:cNvPr>
              <p:cNvSpPr/>
              <p:nvPr/>
            </p:nvSpPr>
            <p:spPr>
              <a:xfrm>
                <a:off x="4707397" y="3208428"/>
                <a:ext cx="48449" cy="56828"/>
              </a:xfrm>
              <a:custGeom>
                <a:avLst/>
                <a:gdLst>
                  <a:gd name="connsiteX0" fmla="*/ 36935 w 48449"/>
                  <a:gd name="connsiteY0" fmla="*/ 56829 h 56828"/>
                  <a:gd name="connsiteX1" fmla="*/ 25421 w 48449"/>
                  <a:gd name="connsiteY1" fmla="*/ 40230 h 56828"/>
                  <a:gd name="connsiteX2" fmla="*/ 10467 w 48449"/>
                  <a:gd name="connsiteY2" fmla="*/ 40230 h 56828"/>
                  <a:gd name="connsiteX3" fmla="*/ 10467 w 48449"/>
                  <a:gd name="connsiteY3" fmla="*/ 56829 h 56828"/>
                  <a:gd name="connsiteX4" fmla="*/ 0 w 48449"/>
                  <a:gd name="connsiteY4" fmla="*/ 56829 h 56828"/>
                  <a:gd name="connsiteX5" fmla="*/ 0 w 48449"/>
                  <a:gd name="connsiteY5" fmla="*/ 6 h 56828"/>
                  <a:gd name="connsiteX6" fmla="*/ 23327 w 48449"/>
                  <a:gd name="connsiteY6" fmla="*/ 6 h 56828"/>
                  <a:gd name="connsiteX7" fmla="*/ 36187 w 48449"/>
                  <a:gd name="connsiteY7" fmla="*/ 2548 h 56828"/>
                  <a:gd name="connsiteX8" fmla="*/ 44561 w 48449"/>
                  <a:gd name="connsiteY8" fmla="*/ 9426 h 56828"/>
                  <a:gd name="connsiteX9" fmla="*/ 47552 w 48449"/>
                  <a:gd name="connsiteY9" fmla="*/ 20193 h 56828"/>
                  <a:gd name="connsiteX10" fmla="*/ 44412 w 48449"/>
                  <a:gd name="connsiteY10" fmla="*/ 31258 h 56828"/>
                  <a:gd name="connsiteX11" fmla="*/ 35440 w 48449"/>
                  <a:gd name="connsiteY11" fmla="*/ 38137 h 56828"/>
                  <a:gd name="connsiteX12" fmla="*/ 48449 w 48449"/>
                  <a:gd name="connsiteY12" fmla="*/ 56829 h 56828"/>
                  <a:gd name="connsiteX13" fmla="*/ 33197 w 48449"/>
                  <a:gd name="connsiteY13" fmla="*/ 11969 h 56828"/>
                  <a:gd name="connsiteX14" fmla="*/ 22729 w 48449"/>
                  <a:gd name="connsiteY14" fmla="*/ 8978 h 56828"/>
                  <a:gd name="connsiteX15" fmla="*/ 10318 w 48449"/>
                  <a:gd name="connsiteY15" fmla="*/ 8978 h 56828"/>
                  <a:gd name="connsiteX16" fmla="*/ 10318 w 48449"/>
                  <a:gd name="connsiteY16" fmla="*/ 31557 h 56828"/>
                  <a:gd name="connsiteX17" fmla="*/ 21982 w 48449"/>
                  <a:gd name="connsiteY17" fmla="*/ 31557 h 56828"/>
                  <a:gd name="connsiteX18" fmla="*/ 32449 w 48449"/>
                  <a:gd name="connsiteY18" fmla="*/ 28567 h 56828"/>
                  <a:gd name="connsiteX19" fmla="*/ 36038 w 48449"/>
                  <a:gd name="connsiteY19" fmla="*/ 20193 h 56828"/>
                  <a:gd name="connsiteX20" fmla="*/ 32449 w 48449"/>
                  <a:gd name="connsiteY20" fmla="*/ 11969 h 56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8449" h="56828">
                    <a:moveTo>
                      <a:pt x="36935" y="56829"/>
                    </a:moveTo>
                    <a:lnTo>
                      <a:pt x="25421" y="40230"/>
                    </a:lnTo>
                    <a:lnTo>
                      <a:pt x="10467" y="40230"/>
                    </a:lnTo>
                    <a:lnTo>
                      <a:pt x="10467" y="56829"/>
                    </a:lnTo>
                    <a:lnTo>
                      <a:pt x="0" y="56829"/>
                    </a:lnTo>
                    <a:lnTo>
                      <a:pt x="0" y="6"/>
                    </a:lnTo>
                    <a:lnTo>
                      <a:pt x="23327" y="6"/>
                    </a:lnTo>
                    <a:cubicBezTo>
                      <a:pt x="27754" y="-79"/>
                      <a:pt x="32135" y="788"/>
                      <a:pt x="36187" y="2548"/>
                    </a:cubicBezTo>
                    <a:cubicBezTo>
                      <a:pt x="39582" y="3986"/>
                      <a:pt x="42498" y="6374"/>
                      <a:pt x="44561" y="9426"/>
                    </a:cubicBezTo>
                    <a:cubicBezTo>
                      <a:pt x="46565" y="12659"/>
                      <a:pt x="47597" y="16393"/>
                      <a:pt x="47552" y="20193"/>
                    </a:cubicBezTo>
                    <a:cubicBezTo>
                      <a:pt x="47672" y="24117"/>
                      <a:pt x="46580" y="27984"/>
                      <a:pt x="44412" y="31258"/>
                    </a:cubicBezTo>
                    <a:cubicBezTo>
                      <a:pt x="42229" y="34443"/>
                      <a:pt x="39088" y="36853"/>
                      <a:pt x="35440" y="38137"/>
                    </a:cubicBezTo>
                    <a:lnTo>
                      <a:pt x="48449" y="56829"/>
                    </a:lnTo>
                    <a:close/>
                    <a:moveTo>
                      <a:pt x="33197" y="11969"/>
                    </a:moveTo>
                    <a:cubicBezTo>
                      <a:pt x="30146" y="9812"/>
                      <a:pt x="26453" y="8758"/>
                      <a:pt x="22729" y="8978"/>
                    </a:cubicBezTo>
                    <a:lnTo>
                      <a:pt x="10318" y="8978"/>
                    </a:lnTo>
                    <a:lnTo>
                      <a:pt x="10318" y="31557"/>
                    </a:lnTo>
                    <a:lnTo>
                      <a:pt x="21982" y="31557"/>
                    </a:lnTo>
                    <a:cubicBezTo>
                      <a:pt x="25720" y="31910"/>
                      <a:pt x="29458" y="30843"/>
                      <a:pt x="32449" y="28567"/>
                    </a:cubicBezTo>
                    <a:cubicBezTo>
                      <a:pt x="34916" y="26512"/>
                      <a:pt x="36247" y="23399"/>
                      <a:pt x="36038" y="20193"/>
                    </a:cubicBezTo>
                    <a:cubicBezTo>
                      <a:pt x="36232" y="17035"/>
                      <a:pt x="34901" y="13977"/>
                      <a:pt x="32449" y="11969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5A30D2F7-DFBD-7F92-DB42-5724928F3CF3}"/>
                  </a:ext>
                </a:extLst>
              </p:cNvPr>
              <p:cNvSpPr/>
              <p:nvPr/>
            </p:nvSpPr>
            <p:spPr>
              <a:xfrm>
                <a:off x="4800257" y="3207674"/>
                <a:ext cx="45332" cy="58339"/>
              </a:xfrm>
              <a:custGeom>
                <a:avLst/>
                <a:gdLst>
                  <a:gd name="connsiteX0" fmla="*/ 9720 w 45332"/>
                  <a:gd name="connsiteY0" fmla="*/ 56536 h 58339"/>
                  <a:gd name="connsiteX1" fmla="*/ 0 w 45332"/>
                  <a:gd name="connsiteY1" fmla="*/ 51601 h 58339"/>
                  <a:gd name="connsiteX2" fmla="*/ 3738 w 45332"/>
                  <a:gd name="connsiteY2" fmla="*/ 43377 h 58339"/>
                  <a:gd name="connsiteX3" fmla="*/ 12262 w 45332"/>
                  <a:gd name="connsiteY3" fmla="*/ 47863 h 58339"/>
                  <a:gd name="connsiteX4" fmla="*/ 22430 w 45332"/>
                  <a:gd name="connsiteY4" fmla="*/ 49658 h 58339"/>
                  <a:gd name="connsiteX5" fmla="*/ 31851 w 45332"/>
                  <a:gd name="connsiteY5" fmla="*/ 47564 h 58339"/>
                  <a:gd name="connsiteX6" fmla="*/ 34991 w 45332"/>
                  <a:gd name="connsiteY6" fmla="*/ 42181 h 58339"/>
                  <a:gd name="connsiteX7" fmla="*/ 33197 w 45332"/>
                  <a:gd name="connsiteY7" fmla="*/ 38293 h 58339"/>
                  <a:gd name="connsiteX8" fmla="*/ 28860 w 45332"/>
                  <a:gd name="connsiteY8" fmla="*/ 35751 h 58339"/>
                  <a:gd name="connsiteX9" fmla="*/ 21533 w 45332"/>
                  <a:gd name="connsiteY9" fmla="*/ 33807 h 58339"/>
                  <a:gd name="connsiteX10" fmla="*/ 11065 w 45332"/>
                  <a:gd name="connsiteY10" fmla="*/ 30667 h 58339"/>
                  <a:gd name="connsiteX11" fmla="*/ 4187 w 45332"/>
                  <a:gd name="connsiteY11" fmla="*/ 25882 h 58339"/>
                  <a:gd name="connsiteX12" fmla="*/ 1346 w 45332"/>
                  <a:gd name="connsiteY12" fmla="*/ 16910 h 58339"/>
                  <a:gd name="connsiteX13" fmla="*/ 3888 w 45332"/>
                  <a:gd name="connsiteY13" fmla="*/ 8386 h 58339"/>
                  <a:gd name="connsiteX14" fmla="*/ 11514 w 45332"/>
                  <a:gd name="connsiteY14" fmla="*/ 2255 h 58339"/>
                  <a:gd name="connsiteX15" fmla="*/ 24075 w 45332"/>
                  <a:gd name="connsiteY15" fmla="*/ 12 h 58339"/>
                  <a:gd name="connsiteX16" fmla="*/ 34393 w 45332"/>
                  <a:gd name="connsiteY16" fmla="*/ 1358 h 58339"/>
                  <a:gd name="connsiteX17" fmla="*/ 43066 w 45332"/>
                  <a:gd name="connsiteY17" fmla="*/ 5096 h 58339"/>
                  <a:gd name="connsiteX18" fmla="*/ 39626 w 45332"/>
                  <a:gd name="connsiteY18" fmla="*/ 13171 h 58339"/>
                  <a:gd name="connsiteX19" fmla="*/ 31851 w 45332"/>
                  <a:gd name="connsiteY19" fmla="*/ 9881 h 58339"/>
                  <a:gd name="connsiteX20" fmla="*/ 24075 w 45332"/>
                  <a:gd name="connsiteY20" fmla="*/ 8835 h 58339"/>
                  <a:gd name="connsiteX21" fmla="*/ 14804 w 45332"/>
                  <a:gd name="connsiteY21" fmla="*/ 10928 h 58339"/>
                  <a:gd name="connsiteX22" fmla="*/ 11664 w 45332"/>
                  <a:gd name="connsiteY22" fmla="*/ 16461 h 58339"/>
                  <a:gd name="connsiteX23" fmla="*/ 13458 w 45332"/>
                  <a:gd name="connsiteY23" fmla="*/ 20498 h 58339"/>
                  <a:gd name="connsiteX24" fmla="*/ 17944 w 45332"/>
                  <a:gd name="connsiteY24" fmla="*/ 22891 h 58339"/>
                  <a:gd name="connsiteX25" fmla="*/ 25122 w 45332"/>
                  <a:gd name="connsiteY25" fmla="*/ 24835 h 58339"/>
                  <a:gd name="connsiteX26" fmla="*/ 35589 w 45332"/>
                  <a:gd name="connsiteY26" fmla="*/ 27975 h 58339"/>
                  <a:gd name="connsiteX27" fmla="*/ 42468 w 45332"/>
                  <a:gd name="connsiteY27" fmla="*/ 32760 h 58339"/>
                  <a:gd name="connsiteX28" fmla="*/ 45309 w 45332"/>
                  <a:gd name="connsiteY28" fmla="*/ 41583 h 58339"/>
                  <a:gd name="connsiteX29" fmla="*/ 42767 w 45332"/>
                  <a:gd name="connsiteY29" fmla="*/ 50106 h 58339"/>
                  <a:gd name="connsiteX30" fmla="*/ 35140 w 45332"/>
                  <a:gd name="connsiteY30" fmla="*/ 56088 h 58339"/>
                  <a:gd name="connsiteX31" fmla="*/ 22430 w 45332"/>
                  <a:gd name="connsiteY31" fmla="*/ 58331 h 58339"/>
                  <a:gd name="connsiteX32" fmla="*/ 9720 w 45332"/>
                  <a:gd name="connsiteY32" fmla="*/ 56536 h 58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2" h="58339">
                    <a:moveTo>
                      <a:pt x="9720" y="56536"/>
                    </a:moveTo>
                    <a:cubicBezTo>
                      <a:pt x="6161" y="55600"/>
                      <a:pt x="2856" y="53918"/>
                      <a:pt x="0" y="51601"/>
                    </a:cubicBezTo>
                    <a:lnTo>
                      <a:pt x="3738" y="43377"/>
                    </a:lnTo>
                    <a:cubicBezTo>
                      <a:pt x="6310" y="45343"/>
                      <a:pt x="9181" y="46861"/>
                      <a:pt x="12262" y="47863"/>
                    </a:cubicBezTo>
                    <a:cubicBezTo>
                      <a:pt x="15522" y="49046"/>
                      <a:pt x="18961" y="49653"/>
                      <a:pt x="22430" y="49658"/>
                    </a:cubicBezTo>
                    <a:cubicBezTo>
                      <a:pt x="25705" y="49849"/>
                      <a:pt x="28965" y="49124"/>
                      <a:pt x="31851" y="47564"/>
                    </a:cubicBezTo>
                    <a:cubicBezTo>
                      <a:pt x="33795" y="46475"/>
                      <a:pt x="35006" y="44413"/>
                      <a:pt x="34991" y="42181"/>
                    </a:cubicBezTo>
                    <a:cubicBezTo>
                      <a:pt x="34991" y="40684"/>
                      <a:pt x="34333" y="39262"/>
                      <a:pt x="33197" y="38293"/>
                    </a:cubicBezTo>
                    <a:cubicBezTo>
                      <a:pt x="31970" y="37124"/>
                      <a:pt x="30475" y="36255"/>
                      <a:pt x="28860" y="35751"/>
                    </a:cubicBezTo>
                    <a:lnTo>
                      <a:pt x="21533" y="33807"/>
                    </a:lnTo>
                    <a:cubicBezTo>
                      <a:pt x="17974" y="32990"/>
                      <a:pt x="14475" y="31941"/>
                      <a:pt x="11065" y="30667"/>
                    </a:cubicBezTo>
                    <a:cubicBezTo>
                      <a:pt x="8434" y="29621"/>
                      <a:pt x="6086" y="27984"/>
                      <a:pt x="4187" y="25882"/>
                    </a:cubicBezTo>
                    <a:cubicBezTo>
                      <a:pt x="2168" y="23344"/>
                      <a:pt x="1151" y="20148"/>
                      <a:pt x="1346" y="16910"/>
                    </a:cubicBezTo>
                    <a:cubicBezTo>
                      <a:pt x="1316" y="13877"/>
                      <a:pt x="2198" y="10904"/>
                      <a:pt x="3888" y="8386"/>
                    </a:cubicBezTo>
                    <a:cubicBezTo>
                      <a:pt x="5757" y="5629"/>
                      <a:pt x="8419" y="3495"/>
                      <a:pt x="11514" y="2255"/>
                    </a:cubicBezTo>
                    <a:cubicBezTo>
                      <a:pt x="15506" y="655"/>
                      <a:pt x="19783" y="-107"/>
                      <a:pt x="24075" y="12"/>
                    </a:cubicBezTo>
                    <a:cubicBezTo>
                      <a:pt x="27559" y="9"/>
                      <a:pt x="31028" y="461"/>
                      <a:pt x="34393" y="1358"/>
                    </a:cubicBezTo>
                    <a:cubicBezTo>
                      <a:pt x="37458" y="2137"/>
                      <a:pt x="40389" y="3399"/>
                      <a:pt x="43066" y="5096"/>
                    </a:cubicBezTo>
                    <a:lnTo>
                      <a:pt x="39626" y="13171"/>
                    </a:lnTo>
                    <a:cubicBezTo>
                      <a:pt x="37174" y="11772"/>
                      <a:pt x="34557" y="10667"/>
                      <a:pt x="31851" y="9881"/>
                    </a:cubicBezTo>
                    <a:cubicBezTo>
                      <a:pt x="29324" y="9177"/>
                      <a:pt x="26707" y="8824"/>
                      <a:pt x="24075" y="8835"/>
                    </a:cubicBezTo>
                    <a:cubicBezTo>
                      <a:pt x="20845" y="8506"/>
                      <a:pt x="17585" y="9240"/>
                      <a:pt x="14804" y="10928"/>
                    </a:cubicBezTo>
                    <a:cubicBezTo>
                      <a:pt x="12860" y="12088"/>
                      <a:pt x="11664" y="14192"/>
                      <a:pt x="11664" y="16461"/>
                    </a:cubicBezTo>
                    <a:cubicBezTo>
                      <a:pt x="11619" y="18010"/>
                      <a:pt x="12277" y="19497"/>
                      <a:pt x="13458" y="20498"/>
                    </a:cubicBezTo>
                    <a:cubicBezTo>
                      <a:pt x="14774" y="21587"/>
                      <a:pt x="16299" y="22400"/>
                      <a:pt x="17944" y="22891"/>
                    </a:cubicBezTo>
                    <a:lnTo>
                      <a:pt x="25122" y="24835"/>
                    </a:lnTo>
                    <a:cubicBezTo>
                      <a:pt x="28681" y="25651"/>
                      <a:pt x="32180" y="26700"/>
                      <a:pt x="35589" y="27975"/>
                    </a:cubicBezTo>
                    <a:cubicBezTo>
                      <a:pt x="38221" y="29020"/>
                      <a:pt x="40569" y="30658"/>
                      <a:pt x="42468" y="32760"/>
                    </a:cubicBezTo>
                    <a:cubicBezTo>
                      <a:pt x="44486" y="35238"/>
                      <a:pt x="45503" y="38389"/>
                      <a:pt x="45309" y="41583"/>
                    </a:cubicBezTo>
                    <a:cubicBezTo>
                      <a:pt x="45339" y="44615"/>
                      <a:pt x="44456" y="47588"/>
                      <a:pt x="42767" y="50106"/>
                    </a:cubicBezTo>
                    <a:cubicBezTo>
                      <a:pt x="40883" y="52820"/>
                      <a:pt x="38221" y="54905"/>
                      <a:pt x="35140" y="56088"/>
                    </a:cubicBezTo>
                    <a:cubicBezTo>
                      <a:pt x="31088" y="57671"/>
                      <a:pt x="26767" y="58434"/>
                      <a:pt x="22430" y="58331"/>
                    </a:cubicBezTo>
                    <a:cubicBezTo>
                      <a:pt x="18123" y="58344"/>
                      <a:pt x="13847" y="57740"/>
                      <a:pt x="9720" y="5653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B4A200AB-D0A8-83B3-E69A-08DD76DBE50C}"/>
                  </a:ext>
                </a:extLst>
              </p:cNvPr>
              <p:cNvSpPr/>
              <p:nvPr/>
            </p:nvSpPr>
            <p:spPr>
              <a:xfrm>
                <a:off x="2714705" y="3305778"/>
                <a:ext cx="55895" cy="56835"/>
              </a:xfrm>
              <a:custGeom>
                <a:avLst/>
                <a:gdLst>
                  <a:gd name="connsiteX0" fmla="*/ 0 w 55895"/>
                  <a:gd name="connsiteY0" fmla="*/ 2 h 56835"/>
                  <a:gd name="connsiteX1" fmla="*/ 24823 w 55895"/>
                  <a:gd name="connsiteY1" fmla="*/ 2 h 56835"/>
                  <a:gd name="connsiteX2" fmla="*/ 40972 w 55895"/>
                  <a:gd name="connsiteY2" fmla="*/ 3442 h 56835"/>
                  <a:gd name="connsiteX3" fmla="*/ 51888 w 55895"/>
                  <a:gd name="connsiteY3" fmla="*/ 13460 h 56835"/>
                  <a:gd name="connsiteX4" fmla="*/ 51888 w 55895"/>
                  <a:gd name="connsiteY4" fmla="*/ 43367 h 56835"/>
                  <a:gd name="connsiteX5" fmla="*/ 40972 w 55895"/>
                  <a:gd name="connsiteY5" fmla="*/ 53386 h 56835"/>
                  <a:gd name="connsiteX6" fmla="*/ 24823 w 55895"/>
                  <a:gd name="connsiteY6" fmla="*/ 56825 h 56835"/>
                  <a:gd name="connsiteX7" fmla="*/ 0 w 55895"/>
                  <a:gd name="connsiteY7" fmla="*/ 56825 h 56835"/>
                  <a:gd name="connsiteX8" fmla="*/ 24374 w 55895"/>
                  <a:gd name="connsiteY8" fmla="*/ 47853 h 56835"/>
                  <a:gd name="connsiteX9" fmla="*/ 35290 w 55895"/>
                  <a:gd name="connsiteY9" fmla="*/ 45461 h 56835"/>
                  <a:gd name="connsiteX10" fmla="*/ 42617 w 55895"/>
                  <a:gd name="connsiteY10" fmla="*/ 38582 h 56835"/>
                  <a:gd name="connsiteX11" fmla="*/ 45159 w 55895"/>
                  <a:gd name="connsiteY11" fmla="*/ 28414 h 56835"/>
                  <a:gd name="connsiteX12" fmla="*/ 42617 w 55895"/>
                  <a:gd name="connsiteY12" fmla="*/ 18096 h 56835"/>
                  <a:gd name="connsiteX13" fmla="*/ 35290 w 55895"/>
                  <a:gd name="connsiteY13" fmla="*/ 11367 h 56835"/>
                  <a:gd name="connsiteX14" fmla="*/ 24374 w 55895"/>
                  <a:gd name="connsiteY14" fmla="*/ 8974 h 56835"/>
                  <a:gd name="connsiteX15" fmla="*/ 10916 w 55895"/>
                  <a:gd name="connsiteY15" fmla="*/ 8974 h 56835"/>
                  <a:gd name="connsiteX16" fmla="*/ 10916 w 55895"/>
                  <a:gd name="connsiteY16" fmla="*/ 47853 h 56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5895" h="56835">
                    <a:moveTo>
                      <a:pt x="0" y="2"/>
                    </a:moveTo>
                    <a:lnTo>
                      <a:pt x="24823" y="2"/>
                    </a:lnTo>
                    <a:cubicBezTo>
                      <a:pt x="30394" y="-58"/>
                      <a:pt x="35910" y="1109"/>
                      <a:pt x="40972" y="3442"/>
                    </a:cubicBezTo>
                    <a:cubicBezTo>
                      <a:pt x="45500" y="5655"/>
                      <a:pt x="49291" y="9139"/>
                      <a:pt x="51888" y="13460"/>
                    </a:cubicBezTo>
                    <a:cubicBezTo>
                      <a:pt x="57231" y="22716"/>
                      <a:pt x="57231" y="34111"/>
                      <a:pt x="51888" y="43367"/>
                    </a:cubicBezTo>
                    <a:cubicBezTo>
                      <a:pt x="49291" y="47689"/>
                      <a:pt x="45500" y="51173"/>
                      <a:pt x="40972" y="53386"/>
                    </a:cubicBezTo>
                    <a:cubicBezTo>
                      <a:pt x="35933" y="55779"/>
                      <a:pt x="30401" y="56960"/>
                      <a:pt x="24823" y="56825"/>
                    </a:cubicBezTo>
                    <a:lnTo>
                      <a:pt x="0" y="56825"/>
                    </a:lnTo>
                    <a:close/>
                    <a:moveTo>
                      <a:pt x="24374" y="47853"/>
                    </a:moveTo>
                    <a:cubicBezTo>
                      <a:pt x="28147" y="47883"/>
                      <a:pt x="31879" y="47076"/>
                      <a:pt x="35290" y="45461"/>
                    </a:cubicBezTo>
                    <a:cubicBezTo>
                      <a:pt x="38363" y="43950"/>
                      <a:pt x="40914" y="41558"/>
                      <a:pt x="42617" y="38582"/>
                    </a:cubicBezTo>
                    <a:cubicBezTo>
                      <a:pt x="44352" y="35472"/>
                      <a:pt x="45229" y="31973"/>
                      <a:pt x="45159" y="28414"/>
                    </a:cubicBezTo>
                    <a:cubicBezTo>
                      <a:pt x="45207" y="24810"/>
                      <a:pt x="44332" y="21266"/>
                      <a:pt x="42617" y="18096"/>
                    </a:cubicBezTo>
                    <a:cubicBezTo>
                      <a:pt x="40952" y="15135"/>
                      <a:pt x="38385" y="12772"/>
                      <a:pt x="35290" y="11367"/>
                    </a:cubicBezTo>
                    <a:cubicBezTo>
                      <a:pt x="31903" y="9692"/>
                      <a:pt x="28154" y="8870"/>
                      <a:pt x="24374" y="8974"/>
                    </a:cubicBezTo>
                    <a:lnTo>
                      <a:pt x="10916" y="8974"/>
                    </a:lnTo>
                    <a:lnTo>
                      <a:pt x="10916" y="4785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D40779F7-EAEF-BCA4-0314-89C105F24557}"/>
                  </a:ext>
                </a:extLst>
              </p:cNvPr>
              <p:cNvSpPr/>
              <p:nvPr/>
            </p:nvSpPr>
            <p:spPr>
              <a:xfrm>
                <a:off x="2819229" y="3305780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3 h 56673"/>
                  <a:gd name="connsiteX6" fmla="*/ 10467 w 42617"/>
                  <a:gd name="connsiteY6" fmla="*/ 8823 h 56673"/>
                  <a:gd name="connsiteX7" fmla="*/ 10467 w 42617"/>
                  <a:gd name="connsiteY7" fmla="*/ 23626 h 56673"/>
                  <a:gd name="connsiteX8" fmla="*/ 37832 w 42617"/>
                  <a:gd name="connsiteY8" fmla="*/ 23626 h 56673"/>
                  <a:gd name="connsiteX9" fmla="*/ 37832 w 42617"/>
                  <a:gd name="connsiteY9" fmla="*/ 32299 h 56673"/>
                  <a:gd name="connsiteX10" fmla="*/ 10467 w 42617"/>
                  <a:gd name="connsiteY10" fmla="*/ 32299 h 56673"/>
                  <a:gd name="connsiteX11" fmla="*/ 1046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467" y="8823"/>
                    </a:lnTo>
                    <a:lnTo>
                      <a:pt x="10467" y="23626"/>
                    </a:lnTo>
                    <a:lnTo>
                      <a:pt x="37832" y="23626"/>
                    </a:lnTo>
                    <a:lnTo>
                      <a:pt x="37832" y="32299"/>
                    </a:lnTo>
                    <a:lnTo>
                      <a:pt x="10467" y="32299"/>
                    </a:lnTo>
                    <a:lnTo>
                      <a:pt x="1046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43B36176-8C82-2BC4-225A-BFCFCAC173B1}"/>
                  </a:ext>
                </a:extLst>
              </p:cNvPr>
              <p:cNvSpPr/>
              <p:nvPr/>
            </p:nvSpPr>
            <p:spPr>
              <a:xfrm>
                <a:off x="2971006" y="3305780"/>
                <a:ext cx="40224" cy="56673"/>
              </a:xfrm>
              <a:custGeom>
                <a:avLst/>
                <a:gdLst>
                  <a:gd name="connsiteX0" fmla="*/ 0 w 40224"/>
                  <a:gd name="connsiteY0" fmla="*/ 0 h 56673"/>
                  <a:gd name="connsiteX1" fmla="*/ 10467 w 40224"/>
                  <a:gd name="connsiteY1" fmla="*/ 0 h 56673"/>
                  <a:gd name="connsiteX2" fmla="*/ 10467 w 40224"/>
                  <a:gd name="connsiteY2" fmla="*/ 47851 h 56673"/>
                  <a:gd name="connsiteX3" fmla="*/ 40225 w 40224"/>
                  <a:gd name="connsiteY3" fmla="*/ 47851 h 56673"/>
                  <a:gd name="connsiteX4" fmla="*/ 40225 w 40224"/>
                  <a:gd name="connsiteY4" fmla="*/ 56673 h 56673"/>
                  <a:gd name="connsiteX5" fmla="*/ 0 w 40224"/>
                  <a:gd name="connsiteY5" fmla="*/ 56673 h 56673"/>
                  <a:gd name="connsiteX6" fmla="*/ 0 w 40224"/>
                  <a:gd name="connsiteY6" fmla="*/ 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224" h="5667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47851"/>
                    </a:lnTo>
                    <a:lnTo>
                      <a:pt x="40225" y="47851"/>
                    </a:lnTo>
                    <a:lnTo>
                      <a:pt x="40225" y="56673"/>
                    </a:lnTo>
                    <a:lnTo>
                      <a:pt x="0" y="5667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B444A7E7-77E4-21EB-749E-C58E3D8E4AD1}"/>
                  </a:ext>
                </a:extLst>
              </p:cNvPr>
              <p:cNvSpPr/>
              <p:nvPr/>
            </p:nvSpPr>
            <p:spPr>
              <a:xfrm>
                <a:off x="3049504" y="3301743"/>
                <a:ext cx="12825" cy="25121"/>
              </a:xfrm>
              <a:custGeom>
                <a:avLst/>
                <a:gdLst>
                  <a:gd name="connsiteX0" fmla="*/ 10774 w 12825"/>
                  <a:gd name="connsiteY0" fmla="*/ 1944 h 25121"/>
                  <a:gd name="connsiteX1" fmla="*/ 12718 w 12825"/>
                  <a:gd name="connsiteY1" fmla="*/ 6729 h 25121"/>
                  <a:gd name="connsiteX2" fmla="*/ 12718 w 12825"/>
                  <a:gd name="connsiteY2" fmla="*/ 9570 h 25121"/>
                  <a:gd name="connsiteX3" fmla="*/ 11372 w 12825"/>
                  <a:gd name="connsiteY3" fmla="*/ 13757 h 25121"/>
                  <a:gd name="connsiteX4" fmla="*/ 7185 w 12825"/>
                  <a:gd name="connsiteY4" fmla="*/ 25122 h 25121"/>
                  <a:gd name="connsiteX5" fmla="*/ 606 w 12825"/>
                  <a:gd name="connsiteY5" fmla="*/ 25122 h 25121"/>
                  <a:gd name="connsiteX6" fmla="*/ 3746 w 12825"/>
                  <a:gd name="connsiteY6" fmla="*/ 12710 h 25121"/>
                  <a:gd name="connsiteX7" fmla="*/ 1054 w 12825"/>
                  <a:gd name="connsiteY7" fmla="*/ 10467 h 25121"/>
                  <a:gd name="connsiteX8" fmla="*/ 8 w 12825"/>
                  <a:gd name="connsiteY8" fmla="*/ 6729 h 25121"/>
                  <a:gd name="connsiteX9" fmla="*/ 1802 w 12825"/>
                  <a:gd name="connsiteY9" fmla="*/ 1944 h 25121"/>
                  <a:gd name="connsiteX10" fmla="*/ 6587 w 12825"/>
                  <a:gd name="connsiteY10" fmla="*/ 0 h 25121"/>
                  <a:gd name="connsiteX11" fmla="*/ 11223 w 12825"/>
                  <a:gd name="connsiteY11" fmla="*/ 1944 h 25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25" h="25121">
                    <a:moveTo>
                      <a:pt x="10774" y="1944"/>
                    </a:moveTo>
                    <a:cubicBezTo>
                      <a:pt x="12046" y="3200"/>
                      <a:pt x="12749" y="4935"/>
                      <a:pt x="12718" y="6729"/>
                    </a:cubicBezTo>
                    <a:cubicBezTo>
                      <a:pt x="12861" y="7671"/>
                      <a:pt x="12861" y="8628"/>
                      <a:pt x="12718" y="9570"/>
                    </a:cubicBezTo>
                    <a:cubicBezTo>
                      <a:pt x="12718" y="10467"/>
                      <a:pt x="11970" y="11813"/>
                      <a:pt x="11372" y="13757"/>
                    </a:cubicBezTo>
                    <a:lnTo>
                      <a:pt x="7185" y="25122"/>
                    </a:lnTo>
                    <a:lnTo>
                      <a:pt x="606" y="25122"/>
                    </a:lnTo>
                    <a:lnTo>
                      <a:pt x="3746" y="12710"/>
                    </a:lnTo>
                    <a:cubicBezTo>
                      <a:pt x="2611" y="12307"/>
                      <a:pt x="1657" y="11514"/>
                      <a:pt x="1054" y="10467"/>
                    </a:cubicBezTo>
                    <a:cubicBezTo>
                      <a:pt x="310" y="9361"/>
                      <a:pt x="-58" y="8060"/>
                      <a:pt x="8" y="6729"/>
                    </a:cubicBezTo>
                    <a:cubicBezTo>
                      <a:pt x="-64" y="4965"/>
                      <a:pt x="583" y="3230"/>
                      <a:pt x="1802" y="1944"/>
                    </a:cubicBezTo>
                    <a:cubicBezTo>
                      <a:pt x="3083" y="703"/>
                      <a:pt x="4800" y="0"/>
                      <a:pt x="6587" y="0"/>
                    </a:cubicBezTo>
                    <a:cubicBezTo>
                      <a:pt x="8329" y="15"/>
                      <a:pt x="9995" y="703"/>
                      <a:pt x="11223" y="1944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CD2E2396-8A69-4E5F-9088-827AD793CDC4}"/>
                  </a:ext>
                </a:extLst>
              </p:cNvPr>
              <p:cNvSpPr/>
              <p:nvPr/>
            </p:nvSpPr>
            <p:spPr>
              <a:xfrm>
                <a:off x="3110522" y="3305780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3 h 56673"/>
                  <a:gd name="connsiteX6" fmla="*/ 10617 w 42617"/>
                  <a:gd name="connsiteY6" fmla="*/ 8823 h 56673"/>
                  <a:gd name="connsiteX7" fmla="*/ 10617 w 42617"/>
                  <a:gd name="connsiteY7" fmla="*/ 23626 h 56673"/>
                  <a:gd name="connsiteX8" fmla="*/ 37982 w 42617"/>
                  <a:gd name="connsiteY8" fmla="*/ 23626 h 56673"/>
                  <a:gd name="connsiteX9" fmla="*/ 37982 w 42617"/>
                  <a:gd name="connsiteY9" fmla="*/ 32299 h 56673"/>
                  <a:gd name="connsiteX10" fmla="*/ 10617 w 42617"/>
                  <a:gd name="connsiteY10" fmla="*/ 32299 h 56673"/>
                  <a:gd name="connsiteX11" fmla="*/ 1061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617" y="8823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AF2DFD99-F1BC-DEB0-FA12-A67CBC828E60}"/>
                  </a:ext>
                </a:extLst>
              </p:cNvPr>
              <p:cNvSpPr/>
              <p:nvPr/>
            </p:nvSpPr>
            <p:spPr>
              <a:xfrm>
                <a:off x="3194859" y="3305780"/>
                <a:ext cx="54878" cy="56673"/>
              </a:xfrm>
              <a:custGeom>
                <a:avLst/>
                <a:gdLst>
                  <a:gd name="connsiteX0" fmla="*/ 42617 w 54878"/>
                  <a:gd name="connsiteY0" fmla="*/ 56673 h 56673"/>
                  <a:gd name="connsiteX1" fmla="*/ 27215 w 54878"/>
                  <a:gd name="connsiteY1" fmla="*/ 35141 h 56673"/>
                  <a:gd name="connsiteX2" fmla="*/ 11963 w 54878"/>
                  <a:gd name="connsiteY2" fmla="*/ 56673 h 56673"/>
                  <a:gd name="connsiteX3" fmla="*/ 0 w 54878"/>
                  <a:gd name="connsiteY3" fmla="*/ 56673 h 56673"/>
                  <a:gd name="connsiteX4" fmla="*/ 21084 w 54878"/>
                  <a:gd name="connsiteY4" fmla="*/ 27813 h 56673"/>
                  <a:gd name="connsiteX5" fmla="*/ 1196 w 54878"/>
                  <a:gd name="connsiteY5" fmla="*/ 0 h 56673"/>
                  <a:gd name="connsiteX6" fmla="*/ 13009 w 54878"/>
                  <a:gd name="connsiteY6" fmla="*/ 0 h 56673"/>
                  <a:gd name="connsiteX7" fmla="*/ 27664 w 54878"/>
                  <a:gd name="connsiteY7" fmla="*/ 20187 h 56673"/>
                  <a:gd name="connsiteX8" fmla="*/ 41870 w 54878"/>
                  <a:gd name="connsiteY8" fmla="*/ 0 h 56673"/>
                  <a:gd name="connsiteX9" fmla="*/ 53384 w 54878"/>
                  <a:gd name="connsiteY9" fmla="*/ 0 h 56673"/>
                  <a:gd name="connsiteX10" fmla="*/ 33496 w 54878"/>
                  <a:gd name="connsiteY10" fmla="*/ 27365 h 56673"/>
                  <a:gd name="connsiteX11" fmla="*/ 54879 w 54878"/>
                  <a:gd name="connsiteY11" fmla="*/ 56673 h 56673"/>
                  <a:gd name="connsiteX12" fmla="*/ 42617 w 54878"/>
                  <a:gd name="connsiteY12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878" h="56673">
                    <a:moveTo>
                      <a:pt x="42617" y="56673"/>
                    </a:moveTo>
                    <a:lnTo>
                      <a:pt x="27215" y="35141"/>
                    </a:lnTo>
                    <a:lnTo>
                      <a:pt x="11963" y="56673"/>
                    </a:lnTo>
                    <a:lnTo>
                      <a:pt x="0" y="56673"/>
                    </a:lnTo>
                    <a:lnTo>
                      <a:pt x="21084" y="27813"/>
                    </a:lnTo>
                    <a:lnTo>
                      <a:pt x="1196" y="0"/>
                    </a:lnTo>
                    <a:lnTo>
                      <a:pt x="13009" y="0"/>
                    </a:lnTo>
                    <a:lnTo>
                      <a:pt x="27664" y="20187"/>
                    </a:lnTo>
                    <a:lnTo>
                      <a:pt x="41870" y="0"/>
                    </a:lnTo>
                    <a:lnTo>
                      <a:pt x="53384" y="0"/>
                    </a:lnTo>
                    <a:lnTo>
                      <a:pt x="33496" y="27365"/>
                    </a:lnTo>
                    <a:lnTo>
                      <a:pt x="54879" y="56673"/>
                    </a:lnTo>
                    <a:lnTo>
                      <a:pt x="42617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3EC36AB6-6D12-E718-9D87-C7E82C83C99D}"/>
                  </a:ext>
                </a:extLst>
              </p:cNvPr>
              <p:cNvSpPr/>
              <p:nvPr/>
            </p:nvSpPr>
            <p:spPr>
              <a:xfrm>
                <a:off x="3293851" y="3306514"/>
                <a:ext cx="47712" cy="56687"/>
              </a:xfrm>
              <a:custGeom>
                <a:avLst/>
                <a:gdLst>
                  <a:gd name="connsiteX0" fmla="*/ 35888 w 47712"/>
                  <a:gd name="connsiteY0" fmla="*/ 1659 h 56687"/>
                  <a:gd name="connsiteX1" fmla="*/ 44860 w 47712"/>
                  <a:gd name="connsiteY1" fmla="*/ 9435 h 56687"/>
                  <a:gd name="connsiteX2" fmla="*/ 47701 w 47712"/>
                  <a:gd name="connsiteY2" fmla="*/ 20202 h 56687"/>
                  <a:gd name="connsiteX3" fmla="*/ 44860 w 47712"/>
                  <a:gd name="connsiteY3" fmla="*/ 30968 h 56687"/>
                  <a:gd name="connsiteX4" fmla="*/ 36337 w 47712"/>
                  <a:gd name="connsiteY4" fmla="*/ 37996 h 56687"/>
                  <a:gd name="connsiteX5" fmla="*/ 23626 w 47712"/>
                  <a:gd name="connsiteY5" fmla="*/ 40389 h 56687"/>
                  <a:gd name="connsiteX6" fmla="*/ 10766 w 47712"/>
                  <a:gd name="connsiteY6" fmla="*/ 40389 h 56687"/>
                  <a:gd name="connsiteX7" fmla="*/ 10766 w 47712"/>
                  <a:gd name="connsiteY7" fmla="*/ 56688 h 56687"/>
                  <a:gd name="connsiteX8" fmla="*/ 0 w 47712"/>
                  <a:gd name="connsiteY8" fmla="*/ 56688 h 56687"/>
                  <a:gd name="connsiteX9" fmla="*/ 0 w 47712"/>
                  <a:gd name="connsiteY9" fmla="*/ 14 h 56687"/>
                  <a:gd name="connsiteX10" fmla="*/ 23477 w 47712"/>
                  <a:gd name="connsiteY10" fmla="*/ 14 h 56687"/>
                  <a:gd name="connsiteX11" fmla="*/ 36187 w 47712"/>
                  <a:gd name="connsiteY11" fmla="*/ 2407 h 56687"/>
                  <a:gd name="connsiteX12" fmla="*/ 33346 w 47712"/>
                  <a:gd name="connsiteY12" fmla="*/ 28575 h 56687"/>
                  <a:gd name="connsiteX13" fmla="*/ 33817 w 47712"/>
                  <a:gd name="connsiteY13" fmla="*/ 12306 h 56687"/>
                  <a:gd name="connsiteX14" fmla="*/ 33346 w 47712"/>
                  <a:gd name="connsiteY14" fmla="*/ 11828 h 56687"/>
                  <a:gd name="connsiteX15" fmla="*/ 22879 w 47712"/>
                  <a:gd name="connsiteY15" fmla="*/ 8986 h 56687"/>
                  <a:gd name="connsiteX16" fmla="*/ 10617 w 47712"/>
                  <a:gd name="connsiteY16" fmla="*/ 8986 h 56687"/>
                  <a:gd name="connsiteX17" fmla="*/ 10617 w 47712"/>
                  <a:gd name="connsiteY17" fmla="*/ 31417 h 56687"/>
                  <a:gd name="connsiteX18" fmla="*/ 22879 w 47712"/>
                  <a:gd name="connsiteY18" fmla="*/ 31417 h 56687"/>
                  <a:gd name="connsiteX19" fmla="*/ 33346 w 47712"/>
                  <a:gd name="connsiteY19" fmla="*/ 28575 h 5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7712" h="56687">
                    <a:moveTo>
                      <a:pt x="35888" y="1659"/>
                    </a:moveTo>
                    <a:cubicBezTo>
                      <a:pt x="39633" y="3229"/>
                      <a:pt x="42777" y="5951"/>
                      <a:pt x="44860" y="9435"/>
                    </a:cubicBezTo>
                    <a:cubicBezTo>
                      <a:pt x="46845" y="12665"/>
                      <a:pt x="47833" y="16418"/>
                      <a:pt x="47701" y="20202"/>
                    </a:cubicBezTo>
                    <a:cubicBezTo>
                      <a:pt x="47791" y="23985"/>
                      <a:pt x="46806" y="27723"/>
                      <a:pt x="44860" y="30968"/>
                    </a:cubicBezTo>
                    <a:cubicBezTo>
                      <a:pt x="42779" y="34108"/>
                      <a:pt x="39812" y="36546"/>
                      <a:pt x="36337" y="37996"/>
                    </a:cubicBezTo>
                    <a:cubicBezTo>
                      <a:pt x="32298" y="39626"/>
                      <a:pt x="27979" y="40433"/>
                      <a:pt x="23626" y="40389"/>
                    </a:cubicBezTo>
                    <a:lnTo>
                      <a:pt x="10766" y="40389"/>
                    </a:lnTo>
                    <a:lnTo>
                      <a:pt x="10766" y="56688"/>
                    </a:lnTo>
                    <a:lnTo>
                      <a:pt x="0" y="56688"/>
                    </a:lnTo>
                    <a:lnTo>
                      <a:pt x="0" y="14"/>
                    </a:lnTo>
                    <a:lnTo>
                      <a:pt x="23477" y="14"/>
                    </a:lnTo>
                    <a:cubicBezTo>
                      <a:pt x="27837" y="-120"/>
                      <a:pt x="32175" y="687"/>
                      <a:pt x="36187" y="2407"/>
                    </a:cubicBezTo>
                    <a:moveTo>
                      <a:pt x="33346" y="28575"/>
                    </a:moveTo>
                    <a:cubicBezTo>
                      <a:pt x="37971" y="24209"/>
                      <a:pt x="38182" y="16927"/>
                      <a:pt x="33817" y="12306"/>
                    </a:cubicBezTo>
                    <a:cubicBezTo>
                      <a:pt x="33665" y="12142"/>
                      <a:pt x="33508" y="11977"/>
                      <a:pt x="33346" y="11828"/>
                    </a:cubicBezTo>
                    <a:cubicBezTo>
                      <a:pt x="30288" y="9704"/>
                      <a:pt x="26592" y="8702"/>
                      <a:pt x="22879" y="8986"/>
                    </a:cubicBezTo>
                    <a:lnTo>
                      <a:pt x="10617" y="8986"/>
                    </a:lnTo>
                    <a:lnTo>
                      <a:pt x="10617" y="31417"/>
                    </a:lnTo>
                    <a:lnTo>
                      <a:pt x="22879" y="31417"/>
                    </a:lnTo>
                    <a:cubicBezTo>
                      <a:pt x="26592" y="31701"/>
                      <a:pt x="30288" y="30699"/>
                      <a:pt x="33346" y="2857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44F1424F-A364-273D-9C4D-570D4D9D5772}"/>
                  </a:ext>
                </a:extLst>
              </p:cNvPr>
              <p:cNvSpPr/>
              <p:nvPr/>
            </p:nvSpPr>
            <p:spPr>
              <a:xfrm>
                <a:off x="3389253" y="3305780"/>
                <a:ext cx="42467" cy="56673"/>
              </a:xfrm>
              <a:custGeom>
                <a:avLst/>
                <a:gdLst>
                  <a:gd name="connsiteX0" fmla="*/ 42468 w 42467"/>
                  <a:gd name="connsiteY0" fmla="*/ 47851 h 56673"/>
                  <a:gd name="connsiteX1" fmla="*/ 42468 w 42467"/>
                  <a:gd name="connsiteY1" fmla="*/ 56673 h 56673"/>
                  <a:gd name="connsiteX2" fmla="*/ 0 w 42467"/>
                  <a:gd name="connsiteY2" fmla="*/ 56673 h 56673"/>
                  <a:gd name="connsiteX3" fmla="*/ 0 w 42467"/>
                  <a:gd name="connsiteY3" fmla="*/ 0 h 56673"/>
                  <a:gd name="connsiteX4" fmla="*/ 41421 w 42467"/>
                  <a:gd name="connsiteY4" fmla="*/ 0 h 56673"/>
                  <a:gd name="connsiteX5" fmla="*/ 41421 w 42467"/>
                  <a:gd name="connsiteY5" fmla="*/ 8823 h 56673"/>
                  <a:gd name="connsiteX6" fmla="*/ 10467 w 42467"/>
                  <a:gd name="connsiteY6" fmla="*/ 8823 h 56673"/>
                  <a:gd name="connsiteX7" fmla="*/ 10467 w 42467"/>
                  <a:gd name="connsiteY7" fmla="*/ 23626 h 56673"/>
                  <a:gd name="connsiteX8" fmla="*/ 37832 w 42467"/>
                  <a:gd name="connsiteY8" fmla="*/ 23626 h 56673"/>
                  <a:gd name="connsiteX9" fmla="*/ 37832 w 42467"/>
                  <a:gd name="connsiteY9" fmla="*/ 32299 h 56673"/>
                  <a:gd name="connsiteX10" fmla="*/ 10467 w 42467"/>
                  <a:gd name="connsiteY10" fmla="*/ 32299 h 56673"/>
                  <a:gd name="connsiteX11" fmla="*/ 10467 w 42467"/>
                  <a:gd name="connsiteY11" fmla="*/ 47851 h 56673"/>
                  <a:gd name="connsiteX12" fmla="*/ 42468 w 4246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467" h="56673">
                    <a:moveTo>
                      <a:pt x="42468" y="47851"/>
                    </a:moveTo>
                    <a:lnTo>
                      <a:pt x="42468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467" y="8823"/>
                    </a:lnTo>
                    <a:lnTo>
                      <a:pt x="10467" y="23626"/>
                    </a:lnTo>
                    <a:lnTo>
                      <a:pt x="37832" y="23626"/>
                    </a:lnTo>
                    <a:lnTo>
                      <a:pt x="37832" y="32299"/>
                    </a:lnTo>
                    <a:lnTo>
                      <a:pt x="10467" y="32299"/>
                    </a:lnTo>
                    <a:lnTo>
                      <a:pt x="10467" y="47851"/>
                    </a:lnTo>
                    <a:lnTo>
                      <a:pt x="42468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CABA1022-4832-AA63-B268-800026E3348C}"/>
                  </a:ext>
                </a:extLst>
              </p:cNvPr>
              <p:cNvSpPr/>
              <p:nvPr/>
            </p:nvSpPr>
            <p:spPr>
              <a:xfrm>
                <a:off x="3481217" y="3305617"/>
                <a:ext cx="48449" cy="56837"/>
              </a:xfrm>
              <a:custGeom>
                <a:avLst/>
                <a:gdLst>
                  <a:gd name="connsiteX0" fmla="*/ 36935 w 48449"/>
                  <a:gd name="connsiteY0" fmla="*/ 56837 h 56837"/>
                  <a:gd name="connsiteX1" fmla="*/ 25421 w 48449"/>
                  <a:gd name="connsiteY1" fmla="*/ 40239 h 56837"/>
                  <a:gd name="connsiteX2" fmla="*/ 10467 w 48449"/>
                  <a:gd name="connsiteY2" fmla="*/ 40239 h 56837"/>
                  <a:gd name="connsiteX3" fmla="*/ 10467 w 48449"/>
                  <a:gd name="connsiteY3" fmla="*/ 56688 h 56837"/>
                  <a:gd name="connsiteX4" fmla="*/ 0 w 48449"/>
                  <a:gd name="connsiteY4" fmla="*/ 56688 h 56837"/>
                  <a:gd name="connsiteX5" fmla="*/ 0 w 48449"/>
                  <a:gd name="connsiteY5" fmla="*/ 14 h 56837"/>
                  <a:gd name="connsiteX6" fmla="*/ 23327 w 48449"/>
                  <a:gd name="connsiteY6" fmla="*/ 14 h 56837"/>
                  <a:gd name="connsiteX7" fmla="*/ 36187 w 48449"/>
                  <a:gd name="connsiteY7" fmla="*/ 2407 h 56837"/>
                  <a:gd name="connsiteX8" fmla="*/ 47552 w 48449"/>
                  <a:gd name="connsiteY8" fmla="*/ 20201 h 56837"/>
                  <a:gd name="connsiteX9" fmla="*/ 35440 w 48449"/>
                  <a:gd name="connsiteY9" fmla="*/ 38145 h 56837"/>
                  <a:gd name="connsiteX10" fmla="*/ 48449 w 48449"/>
                  <a:gd name="connsiteY10" fmla="*/ 56688 h 56837"/>
                  <a:gd name="connsiteX11" fmla="*/ 33197 w 48449"/>
                  <a:gd name="connsiteY11" fmla="*/ 11977 h 56837"/>
                  <a:gd name="connsiteX12" fmla="*/ 22729 w 48449"/>
                  <a:gd name="connsiteY12" fmla="*/ 9136 h 56837"/>
                  <a:gd name="connsiteX13" fmla="*/ 10318 w 48449"/>
                  <a:gd name="connsiteY13" fmla="*/ 9136 h 56837"/>
                  <a:gd name="connsiteX14" fmla="*/ 10318 w 48449"/>
                  <a:gd name="connsiteY14" fmla="*/ 31716 h 56837"/>
                  <a:gd name="connsiteX15" fmla="*/ 22729 w 48449"/>
                  <a:gd name="connsiteY15" fmla="*/ 31716 h 56837"/>
                  <a:gd name="connsiteX16" fmla="*/ 33197 w 48449"/>
                  <a:gd name="connsiteY16" fmla="*/ 28725 h 56837"/>
                  <a:gd name="connsiteX17" fmla="*/ 33668 w 48449"/>
                  <a:gd name="connsiteY17" fmla="*/ 12455 h 56837"/>
                  <a:gd name="connsiteX18" fmla="*/ 33197 w 48449"/>
                  <a:gd name="connsiteY18" fmla="*/ 11977 h 56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449" h="56837">
                    <a:moveTo>
                      <a:pt x="36935" y="56837"/>
                    </a:moveTo>
                    <a:lnTo>
                      <a:pt x="25421" y="40239"/>
                    </a:lnTo>
                    <a:lnTo>
                      <a:pt x="10467" y="40239"/>
                    </a:lnTo>
                    <a:lnTo>
                      <a:pt x="10467" y="56688"/>
                    </a:lnTo>
                    <a:lnTo>
                      <a:pt x="0" y="56688"/>
                    </a:lnTo>
                    <a:lnTo>
                      <a:pt x="0" y="14"/>
                    </a:lnTo>
                    <a:lnTo>
                      <a:pt x="23327" y="14"/>
                    </a:lnTo>
                    <a:cubicBezTo>
                      <a:pt x="27736" y="-120"/>
                      <a:pt x="32121" y="702"/>
                      <a:pt x="36187" y="2407"/>
                    </a:cubicBezTo>
                    <a:cubicBezTo>
                      <a:pt x="43284" y="5427"/>
                      <a:pt x="47797" y="12500"/>
                      <a:pt x="47552" y="20201"/>
                    </a:cubicBezTo>
                    <a:cubicBezTo>
                      <a:pt x="47933" y="28201"/>
                      <a:pt x="43005" y="35499"/>
                      <a:pt x="35440" y="38145"/>
                    </a:cubicBezTo>
                    <a:lnTo>
                      <a:pt x="48449" y="56688"/>
                    </a:lnTo>
                    <a:close/>
                    <a:moveTo>
                      <a:pt x="33197" y="11977"/>
                    </a:moveTo>
                    <a:cubicBezTo>
                      <a:pt x="30130" y="9869"/>
                      <a:pt x="26439" y="8867"/>
                      <a:pt x="22729" y="9136"/>
                    </a:cubicBezTo>
                    <a:lnTo>
                      <a:pt x="10318" y="9136"/>
                    </a:lnTo>
                    <a:lnTo>
                      <a:pt x="10318" y="31716"/>
                    </a:lnTo>
                    <a:lnTo>
                      <a:pt x="22729" y="31716"/>
                    </a:lnTo>
                    <a:cubicBezTo>
                      <a:pt x="26457" y="31940"/>
                      <a:pt x="30148" y="30878"/>
                      <a:pt x="33197" y="28725"/>
                    </a:cubicBezTo>
                    <a:cubicBezTo>
                      <a:pt x="37822" y="24358"/>
                      <a:pt x="38033" y="17076"/>
                      <a:pt x="33668" y="12455"/>
                    </a:cubicBezTo>
                    <a:cubicBezTo>
                      <a:pt x="33515" y="12291"/>
                      <a:pt x="33358" y="12127"/>
                      <a:pt x="33197" y="11977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6841962A-8EC2-2B77-81C6-7739CAF60881}"/>
                  </a:ext>
                </a:extLst>
              </p:cNvPr>
              <p:cNvSpPr/>
              <p:nvPr/>
            </p:nvSpPr>
            <p:spPr>
              <a:xfrm>
                <a:off x="3569741" y="3305780"/>
                <a:ext cx="48149" cy="56673"/>
              </a:xfrm>
              <a:custGeom>
                <a:avLst/>
                <a:gdLst>
                  <a:gd name="connsiteX0" fmla="*/ 18841 w 48149"/>
                  <a:gd name="connsiteY0" fmla="*/ 8972 h 56673"/>
                  <a:gd name="connsiteX1" fmla="*/ 0 w 48149"/>
                  <a:gd name="connsiteY1" fmla="*/ 8972 h 56673"/>
                  <a:gd name="connsiteX2" fmla="*/ 0 w 48149"/>
                  <a:gd name="connsiteY2" fmla="*/ 0 h 56673"/>
                  <a:gd name="connsiteX3" fmla="*/ 48150 w 48149"/>
                  <a:gd name="connsiteY3" fmla="*/ 0 h 56673"/>
                  <a:gd name="connsiteX4" fmla="*/ 48150 w 48149"/>
                  <a:gd name="connsiteY4" fmla="*/ 8972 h 56673"/>
                  <a:gd name="connsiteX5" fmla="*/ 29309 w 48149"/>
                  <a:gd name="connsiteY5" fmla="*/ 8972 h 56673"/>
                  <a:gd name="connsiteX6" fmla="*/ 29309 w 48149"/>
                  <a:gd name="connsiteY6" fmla="*/ 56673 h 56673"/>
                  <a:gd name="connsiteX7" fmla="*/ 18841 w 48149"/>
                  <a:gd name="connsiteY7" fmla="*/ 56673 h 56673"/>
                  <a:gd name="connsiteX8" fmla="*/ 18841 w 48149"/>
                  <a:gd name="connsiteY8" fmla="*/ 8972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49" h="56673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309" y="8972"/>
                    </a:lnTo>
                    <a:lnTo>
                      <a:pt x="29309" y="56673"/>
                    </a:lnTo>
                    <a:lnTo>
                      <a:pt x="18841" y="5667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A7260CCF-2B55-9022-DEB4-361376693D32}"/>
                  </a:ext>
                </a:extLst>
              </p:cNvPr>
              <p:cNvSpPr/>
              <p:nvPr/>
            </p:nvSpPr>
            <p:spPr>
              <a:xfrm>
                <a:off x="3663349" y="3305780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BF699257-03FA-2348-372F-53E0F5AF22C4}"/>
                  </a:ext>
                </a:extLst>
              </p:cNvPr>
              <p:cNvSpPr/>
              <p:nvPr/>
            </p:nvSpPr>
            <p:spPr>
              <a:xfrm>
                <a:off x="3721967" y="3304422"/>
                <a:ext cx="45331" cy="58641"/>
              </a:xfrm>
              <a:custGeom>
                <a:avLst/>
                <a:gdLst>
                  <a:gd name="connsiteX0" fmla="*/ 9720 w 45331"/>
                  <a:gd name="connsiteY0" fmla="*/ 56387 h 58641"/>
                  <a:gd name="connsiteX1" fmla="*/ 0 w 45331"/>
                  <a:gd name="connsiteY1" fmla="*/ 51452 h 58641"/>
                  <a:gd name="connsiteX2" fmla="*/ 3589 w 45331"/>
                  <a:gd name="connsiteY2" fmla="*/ 43377 h 58641"/>
                  <a:gd name="connsiteX3" fmla="*/ 12262 w 45331"/>
                  <a:gd name="connsiteY3" fmla="*/ 47863 h 58641"/>
                  <a:gd name="connsiteX4" fmla="*/ 22430 w 45331"/>
                  <a:gd name="connsiteY4" fmla="*/ 49508 h 58641"/>
                  <a:gd name="connsiteX5" fmla="*/ 31851 w 45331"/>
                  <a:gd name="connsiteY5" fmla="*/ 47564 h 58641"/>
                  <a:gd name="connsiteX6" fmla="*/ 34991 w 45331"/>
                  <a:gd name="connsiteY6" fmla="*/ 42181 h 58641"/>
                  <a:gd name="connsiteX7" fmla="*/ 33197 w 45331"/>
                  <a:gd name="connsiteY7" fmla="*/ 38143 h 58641"/>
                  <a:gd name="connsiteX8" fmla="*/ 28711 w 45331"/>
                  <a:gd name="connsiteY8" fmla="*/ 35751 h 58641"/>
                  <a:gd name="connsiteX9" fmla="*/ 21533 w 45331"/>
                  <a:gd name="connsiteY9" fmla="*/ 33657 h 58641"/>
                  <a:gd name="connsiteX10" fmla="*/ 10916 w 45331"/>
                  <a:gd name="connsiteY10" fmla="*/ 30517 h 58641"/>
                  <a:gd name="connsiteX11" fmla="*/ 4037 w 45331"/>
                  <a:gd name="connsiteY11" fmla="*/ 25732 h 58641"/>
                  <a:gd name="connsiteX12" fmla="*/ 1196 w 45331"/>
                  <a:gd name="connsiteY12" fmla="*/ 16910 h 58641"/>
                  <a:gd name="connsiteX13" fmla="*/ 3738 w 45331"/>
                  <a:gd name="connsiteY13" fmla="*/ 8386 h 58641"/>
                  <a:gd name="connsiteX14" fmla="*/ 11514 w 45331"/>
                  <a:gd name="connsiteY14" fmla="*/ 2255 h 58641"/>
                  <a:gd name="connsiteX15" fmla="*/ 24075 w 45331"/>
                  <a:gd name="connsiteY15" fmla="*/ 12 h 58641"/>
                  <a:gd name="connsiteX16" fmla="*/ 34243 w 45331"/>
                  <a:gd name="connsiteY16" fmla="*/ 1208 h 58641"/>
                  <a:gd name="connsiteX17" fmla="*/ 42916 w 45331"/>
                  <a:gd name="connsiteY17" fmla="*/ 4947 h 58641"/>
                  <a:gd name="connsiteX18" fmla="*/ 39627 w 45331"/>
                  <a:gd name="connsiteY18" fmla="*/ 13171 h 58641"/>
                  <a:gd name="connsiteX19" fmla="*/ 31851 w 45331"/>
                  <a:gd name="connsiteY19" fmla="*/ 9881 h 58641"/>
                  <a:gd name="connsiteX20" fmla="*/ 23926 w 45331"/>
                  <a:gd name="connsiteY20" fmla="*/ 8685 h 58641"/>
                  <a:gd name="connsiteX21" fmla="*/ 14654 w 45331"/>
                  <a:gd name="connsiteY21" fmla="*/ 10779 h 58641"/>
                  <a:gd name="connsiteX22" fmla="*/ 11664 w 45331"/>
                  <a:gd name="connsiteY22" fmla="*/ 16461 h 58641"/>
                  <a:gd name="connsiteX23" fmla="*/ 13458 w 45331"/>
                  <a:gd name="connsiteY23" fmla="*/ 20349 h 58641"/>
                  <a:gd name="connsiteX24" fmla="*/ 17795 w 45331"/>
                  <a:gd name="connsiteY24" fmla="*/ 22741 h 58641"/>
                  <a:gd name="connsiteX25" fmla="*/ 25122 w 45331"/>
                  <a:gd name="connsiteY25" fmla="*/ 24835 h 58641"/>
                  <a:gd name="connsiteX26" fmla="*/ 35440 w 45331"/>
                  <a:gd name="connsiteY26" fmla="*/ 27825 h 58641"/>
                  <a:gd name="connsiteX27" fmla="*/ 42468 w 45331"/>
                  <a:gd name="connsiteY27" fmla="*/ 32760 h 58641"/>
                  <a:gd name="connsiteX28" fmla="*/ 45309 w 45331"/>
                  <a:gd name="connsiteY28" fmla="*/ 41433 h 58641"/>
                  <a:gd name="connsiteX29" fmla="*/ 42767 w 45331"/>
                  <a:gd name="connsiteY29" fmla="*/ 49957 h 58641"/>
                  <a:gd name="connsiteX30" fmla="*/ 35440 w 45331"/>
                  <a:gd name="connsiteY30" fmla="*/ 56387 h 58641"/>
                  <a:gd name="connsiteX31" fmla="*/ 22879 w 45331"/>
                  <a:gd name="connsiteY31" fmla="*/ 58630 h 58641"/>
                  <a:gd name="connsiteX32" fmla="*/ 10168 w 45331"/>
                  <a:gd name="connsiteY32" fmla="*/ 56686 h 5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1" h="58641">
                    <a:moveTo>
                      <a:pt x="9720" y="56387"/>
                    </a:moveTo>
                    <a:cubicBezTo>
                      <a:pt x="6152" y="55489"/>
                      <a:pt x="2832" y="53800"/>
                      <a:pt x="0" y="51452"/>
                    </a:cubicBezTo>
                    <a:lnTo>
                      <a:pt x="3589" y="43377"/>
                    </a:lnTo>
                    <a:cubicBezTo>
                      <a:pt x="6230" y="45306"/>
                      <a:pt x="9156" y="46831"/>
                      <a:pt x="12262" y="47863"/>
                    </a:cubicBezTo>
                    <a:cubicBezTo>
                      <a:pt x="15531" y="49000"/>
                      <a:pt x="18971" y="49553"/>
                      <a:pt x="22430" y="49508"/>
                    </a:cubicBezTo>
                    <a:cubicBezTo>
                      <a:pt x="25690" y="49747"/>
                      <a:pt x="28951" y="49074"/>
                      <a:pt x="31851" y="47564"/>
                    </a:cubicBezTo>
                    <a:cubicBezTo>
                      <a:pt x="33799" y="46472"/>
                      <a:pt x="35003" y="44409"/>
                      <a:pt x="34991" y="42181"/>
                    </a:cubicBezTo>
                    <a:cubicBezTo>
                      <a:pt x="35039" y="40626"/>
                      <a:pt x="34379" y="39145"/>
                      <a:pt x="33197" y="38143"/>
                    </a:cubicBezTo>
                    <a:cubicBezTo>
                      <a:pt x="31875" y="37052"/>
                      <a:pt x="30351" y="36244"/>
                      <a:pt x="28711" y="35751"/>
                    </a:cubicBezTo>
                    <a:lnTo>
                      <a:pt x="21533" y="33657"/>
                    </a:lnTo>
                    <a:cubicBezTo>
                      <a:pt x="17931" y="32835"/>
                      <a:pt x="14384" y="31788"/>
                      <a:pt x="10916" y="30517"/>
                    </a:cubicBezTo>
                    <a:cubicBezTo>
                      <a:pt x="8248" y="29545"/>
                      <a:pt x="5878" y="27900"/>
                      <a:pt x="4037" y="25732"/>
                    </a:cubicBezTo>
                    <a:cubicBezTo>
                      <a:pt x="2001" y="23265"/>
                      <a:pt x="984" y="20110"/>
                      <a:pt x="1196" y="16910"/>
                    </a:cubicBezTo>
                    <a:cubicBezTo>
                      <a:pt x="1159" y="13874"/>
                      <a:pt x="2046" y="10898"/>
                      <a:pt x="3738" y="8386"/>
                    </a:cubicBezTo>
                    <a:cubicBezTo>
                      <a:pt x="5709" y="5665"/>
                      <a:pt x="8402" y="3541"/>
                      <a:pt x="11514" y="2255"/>
                    </a:cubicBezTo>
                    <a:cubicBezTo>
                      <a:pt x="15504" y="655"/>
                      <a:pt x="19779" y="-107"/>
                      <a:pt x="24075" y="12"/>
                    </a:cubicBezTo>
                    <a:cubicBezTo>
                      <a:pt x="27498" y="27"/>
                      <a:pt x="30909" y="431"/>
                      <a:pt x="34243" y="1208"/>
                    </a:cubicBezTo>
                    <a:cubicBezTo>
                      <a:pt x="37331" y="1941"/>
                      <a:pt x="40267" y="3197"/>
                      <a:pt x="42916" y="4947"/>
                    </a:cubicBezTo>
                    <a:lnTo>
                      <a:pt x="39627" y="13171"/>
                    </a:lnTo>
                    <a:cubicBezTo>
                      <a:pt x="37191" y="11736"/>
                      <a:pt x="34577" y="10629"/>
                      <a:pt x="31851" y="9881"/>
                    </a:cubicBezTo>
                    <a:cubicBezTo>
                      <a:pt x="29274" y="9134"/>
                      <a:pt x="26610" y="8730"/>
                      <a:pt x="23926" y="8685"/>
                    </a:cubicBezTo>
                    <a:cubicBezTo>
                      <a:pt x="20700" y="8506"/>
                      <a:pt x="17490" y="9238"/>
                      <a:pt x="14654" y="10779"/>
                    </a:cubicBezTo>
                    <a:cubicBezTo>
                      <a:pt x="12781" y="12065"/>
                      <a:pt x="11661" y="14188"/>
                      <a:pt x="11664" y="16461"/>
                    </a:cubicBezTo>
                    <a:cubicBezTo>
                      <a:pt x="11661" y="17956"/>
                      <a:pt x="12317" y="19377"/>
                      <a:pt x="13458" y="20349"/>
                    </a:cubicBezTo>
                    <a:cubicBezTo>
                      <a:pt x="14701" y="21470"/>
                      <a:pt x="16186" y="22293"/>
                      <a:pt x="17795" y="22741"/>
                    </a:cubicBezTo>
                    <a:lnTo>
                      <a:pt x="25122" y="24835"/>
                    </a:lnTo>
                    <a:cubicBezTo>
                      <a:pt x="28634" y="25553"/>
                      <a:pt x="32084" y="26554"/>
                      <a:pt x="35440" y="27825"/>
                    </a:cubicBezTo>
                    <a:cubicBezTo>
                      <a:pt x="38152" y="28872"/>
                      <a:pt x="40567" y="30562"/>
                      <a:pt x="42468" y="32760"/>
                    </a:cubicBezTo>
                    <a:cubicBezTo>
                      <a:pt x="44482" y="35183"/>
                      <a:pt x="45497" y="38293"/>
                      <a:pt x="45309" y="41433"/>
                    </a:cubicBezTo>
                    <a:cubicBezTo>
                      <a:pt x="45346" y="44469"/>
                      <a:pt x="44460" y="47444"/>
                      <a:pt x="42767" y="49957"/>
                    </a:cubicBezTo>
                    <a:cubicBezTo>
                      <a:pt x="40996" y="52768"/>
                      <a:pt x="38451" y="54996"/>
                      <a:pt x="35440" y="56387"/>
                    </a:cubicBezTo>
                    <a:cubicBezTo>
                      <a:pt x="31450" y="57987"/>
                      <a:pt x="27175" y="58749"/>
                      <a:pt x="22879" y="58630"/>
                    </a:cubicBezTo>
                    <a:cubicBezTo>
                      <a:pt x="18565" y="58674"/>
                      <a:pt x="14272" y="58016"/>
                      <a:pt x="10168" y="5668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0B88D26E-D5B3-23CE-14FC-7ACF88DF3FFD}"/>
                  </a:ext>
                </a:extLst>
              </p:cNvPr>
              <p:cNvSpPr/>
              <p:nvPr/>
            </p:nvSpPr>
            <p:spPr>
              <a:xfrm>
                <a:off x="3815276" y="3305780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3 h 56673"/>
                  <a:gd name="connsiteX6" fmla="*/ 10617 w 42617"/>
                  <a:gd name="connsiteY6" fmla="*/ 8823 h 56673"/>
                  <a:gd name="connsiteX7" fmla="*/ 10617 w 42617"/>
                  <a:gd name="connsiteY7" fmla="*/ 23626 h 56673"/>
                  <a:gd name="connsiteX8" fmla="*/ 37982 w 42617"/>
                  <a:gd name="connsiteY8" fmla="*/ 23626 h 56673"/>
                  <a:gd name="connsiteX9" fmla="*/ 37982 w 42617"/>
                  <a:gd name="connsiteY9" fmla="*/ 32299 h 56673"/>
                  <a:gd name="connsiteX10" fmla="*/ 10617 w 42617"/>
                  <a:gd name="connsiteY10" fmla="*/ 32299 h 56673"/>
                  <a:gd name="connsiteX11" fmla="*/ 1061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617" y="8823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F17A32B9-4004-8B6B-E5F7-AC85F8F05CF4}"/>
                  </a:ext>
                </a:extLst>
              </p:cNvPr>
              <p:cNvSpPr/>
              <p:nvPr/>
            </p:nvSpPr>
            <p:spPr>
              <a:xfrm>
                <a:off x="3963015" y="3305036"/>
                <a:ext cx="52786" cy="58321"/>
              </a:xfrm>
              <a:custGeom>
                <a:avLst/>
                <a:gdLst>
                  <a:gd name="connsiteX0" fmla="*/ 14805 w 52786"/>
                  <a:gd name="connsiteY0" fmla="*/ 54576 h 58321"/>
                  <a:gd name="connsiteX1" fmla="*/ 3889 w 52786"/>
                  <a:gd name="connsiteY1" fmla="*/ 44109 h 58321"/>
                  <a:gd name="connsiteX2" fmla="*/ 1 w 52786"/>
                  <a:gd name="connsiteY2" fmla="*/ 29156 h 58321"/>
                  <a:gd name="connsiteX3" fmla="*/ 3889 w 52786"/>
                  <a:gd name="connsiteY3" fmla="*/ 14202 h 58321"/>
                  <a:gd name="connsiteX4" fmla="*/ 14805 w 52786"/>
                  <a:gd name="connsiteY4" fmla="*/ 3735 h 58321"/>
                  <a:gd name="connsiteX5" fmla="*/ 43066 w 52786"/>
                  <a:gd name="connsiteY5" fmla="*/ 2389 h 58321"/>
                  <a:gd name="connsiteX6" fmla="*/ 52786 w 52786"/>
                  <a:gd name="connsiteY6" fmla="*/ 9417 h 58321"/>
                  <a:gd name="connsiteX7" fmla="*/ 46057 w 52786"/>
                  <a:gd name="connsiteY7" fmla="*/ 15847 h 58321"/>
                  <a:gd name="connsiteX8" fmla="*/ 31104 w 52786"/>
                  <a:gd name="connsiteY8" fmla="*/ 9118 h 58321"/>
                  <a:gd name="connsiteX9" fmla="*/ 20636 w 52786"/>
                  <a:gd name="connsiteY9" fmla="*/ 11809 h 58321"/>
                  <a:gd name="connsiteX10" fmla="*/ 13459 w 52786"/>
                  <a:gd name="connsiteY10" fmla="*/ 18838 h 58321"/>
                  <a:gd name="connsiteX11" fmla="*/ 10917 w 52786"/>
                  <a:gd name="connsiteY11" fmla="*/ 29156 h 58321"/>
                  <a:gd name="connsiteX12" fmla="*/ 13459 w 52786"/>
                  <a:gd name="connsiteY12" fmla="*/ 39473 h 58321"/>
                  <a:gd name="connsiteX13" fmla="*/ 20636 w 52786"/>
                  <a:gd name="connsiteY13" fmla="*/ 46501 h 58321"/>
                  <a:gd name="connsiteX14" fmla="*/ 31104 w 52786"/>
                  <a:gd name="connsiteY14" fmla="*/ 49044 h 58321"/>
                  <a:gd name="connsiteX15" fmla="*/ 46057 w 52786"/>
                  <a:gd name="connsiteY15" fmla="*/ 42314 h 58321"/>
                  <a:gd name="connsiteX16" fmla="*/ 52786 w 52786"/>
                  <a:gd name="connsiteY16" fmla="*/ 48894 h 58321"/>
                  <a:gd name="connsiteX17" fmla="*/ 43066 w 52786"/>
                  <a:gd name="connsiteY17" fmla="*/ 55922 h 58321"/>
                  <a:gd name="connsiteX18" fmla="*/ 30207 w 52786"/>
                  <a:gd name="connsiteY18" fmla="*/ 58315 h 58321"/>
                  <a:gd name="connsiteX19" fmla="*/ 15253 w 52786"/>
                  <a:gd name="connsiteY19" fmla="*/ 54576 h 58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2786" h="58321">
                    <a:moveTo>
                      <a:pt x="14805" y="54576"/>
                    </a:moveTo>
                    <a:cubicBezTo>
                      <a:pt x="10283" y="52139"/>
                      <a:pt x="6508" y="48520"/>
                      <a:pt x="3889" y="44109"/>
                    </a:cubicBezTo>
                    <a:cubicBezTo>
                      <a:pt x="1305" y="39548"/>
                      <a:pt x="-35" y="34389"/>
                      <a:pt x="1" y="29156"/>
                    </a:cubicBezTo>
                    <a:cubicBezTo>
                      <a:pt x="-35" y="23922"/>
                      <a:pt x="1305" y="18763"/>
                      <a:pt x="3889" y="14202"/>
                    </a:cubicBezTo>
                    <a:cubicBezTo>
                      <a:pt x="6508" y="9791"/>
                      <a:pt x="10283" y="6172"/>
                      <a:pt x="14805" y="3735"/>
                    </a:cubicBezTo>
                    <a:cubicBezTo>
                      <a:pt x="23600" y="-721"/>
                      <a:pt x="33885" y="-1215"/>
                      <a:pt x="43066" y="2389"/>
                    </a:cubicBezTo>
                    <a:cubicBezTo>
                      <a:pt x="46821" y="3929"/>
                      <a:pt x="50153" y="6337"/>
                      <a:pt x="52786" y="9417"/>
                    </a:cubicBezTo>
                    <a:lnTo>
                      <a:pt x="46057" y="15847"/>
                    </a:lnTo>
                    <a:cubicBezTo>
                      <a:pt x="42261" y="11570"/>
                      <a:pt x="36821" y="9133"/>
                      <a:pt x="31104" y="9118"/>
                    </a:cubicBezTo>
                    <a:cubicBezTo>
                      <a:pt x="27437" y="9073"/>
                      <a:pt x="23824" y="10000"/>
                      <a:pt x="20636" y="11809"/>
                    </a:cubicBezTo>
                    <a:cubicBezTo>
                      <a:pt x="17656" y="13469"/>
                      <a:pt x="15177" y="15892"/>
                      <a:pt x="13459" y="18838"/>
                    </a:cubicBezTo>
                    <a:cubicBezTo>
                      <a:pt x="11745" y="22008"/>
                      <a:pt x="10869" y="25552"/>
                      <a:pt x="10917" y="29156"/>
                    </a:cubicBezTo>
                    <a:cubicBezTo>
                      <a:pt x="10908" y="32744"/>
                      <a:pt x="11781" y="36288"/>
                      <a:pt x="13459" y="39473"/>
                    </a:cubicBezTo>
                    <a:cubicBezTo>
                      <a:pt x="15177" y="42419"/>
                      <a:pt x="17656" y="44842"/>
                      <a:pt x="20636" y="46501"/>
                    </a:cubicBezTo>
                    <a:cubicBezTo>
                      <a:pt x="23863" y="48191"/>
                      <a:pt x="27458" y="49073"/>
                      <a:pt x="31104" y="49044"/>
                    </a:cubicBezTo>
                    <a:cubicBezTo>
                      <a:pt x="36821" y="49044"/>
                      <a:pt x="42261" y="46591"/>
                      <a:pt x="46057" y="42314"/>
                    </a:cubicBezTo>
                    <a:lnTo>
                      <a:pt x="52786" y="48894"/>
                    </a:lnTo>
                    <a:cubicBezTo>
                      <a:pt x="50113" y="51930"/>
                      <a:pt x="46791" y="54337"/>
                      <a:pt x="43066" y="55922"/>
                    </a:cubicBezTo>
                    <a:cubicBezTo>
                      <a:pt x="38987" y="57582"/>
                      <a:pt x="34612" y="58404"/>
                      <a:pt x="30207" y="58315"/>
                    </a:cubicBezTo>
                    <a:cubicBezTo>
                      <a:pt x="24988" y="58330"/>
                      <a:pt x="19847" y="57059"/>
                      <a:pt x="15253" y="5457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C39138EA-986B-6865-E2EB-4A442AC90F29}"/>
                  </a:ext>
                </a:extLst>
              </p:cNvPr>
              <p:cNvSpPr/>
              <p:nvPr/>
            </p:nvSpPr>
            <p:spPr>
              <a:xfrm>
                <a:off x="4058268" y="3304883"/>
                <a:ext cx="59521" cy="58318"/>
              </a:xfrm>
              <a:custGeom>
                <a:avLst/>
                <a:gdLst>
                  <a:gd name="connsiteX0" fmla="*/ 14805 w 59521"/>
                  <a:gd name="connsiteY0" fmla="*/ 54729 h 58318"/>
                  <a:gd name="connsiteX1" fmla="*/ 3889 w 59521"/>
                  <a:gd name="connsiteY1" fmla="*/ 44262 h 58318"/>
                  <a:gd name="connsiteX2" fmla="*/ 1 w 59521"/>
                  <a:gd name="connsiteY2" fmla="*/ 29309 h 58318"/>
                  <a:gd name="connsiteX3" fmla="*/ 3889 w 59521"/>
                  <a:gd name="connsiteY3" fmla="*/ 14355 h 58318"/>
                  <a:gd name="connsiteX4" fmla="*/ 14805 w 59521"/>
                  <a:gd name="connsiteY4" fmla="*/ 3888 h 58318"/>
                  <a:gd name="connsiteX5" fmla="*/ 29758 w 59521"/>
                  <a:gd name="connsiteY5" fmla="*/ 0 h 58318"/>
                  <a:gd name="connsiteX6" fmla="*/ 44711 w 59521"/>
                  <a:gd name="connsiteY6" fmla="*/ 3888 h 58318"/>
                  <a:gd name="connsiteX7" fmla="*/ 55627 w 59521"/>
                  <a:gd name="connsiteY7" fmla="*/ 14206 h 58318"/>
                  <a:gd name="connsiteX8" fmla="*/ 59515 w 59521"/>
                  <a:gd name="connsiteY8" fmla="*/ 29159 h 58318"/>
                  <a:gd name="connsiteX9" fmla="*/ 44562 w 59521"/>
                  <a:gd name="connsiteY9" fmla="*/ 54580 h 58318"/>
                  <a:gd name="connsiteX10" fmla="*/ 29608 w 59521"/>
                  <a:gd name="connsiteY10" fmla="*/ 58318 h 58318"/>
                  <a:gd name="connsiteX11" fmla="*/ 14655 w 59521"/>
                  <a:gd name="connsiteY11" fmla="*/ 54580 h 58318"/>
                  <a:gd name="connsiteX12" fmla="*/ 40524 w 59521"/>
                  <a:gd name="connsiteY12" fmla="*/ 46505 h 58318"/>
                  <a:gd name="connsiteX13" fmla="*/ 47702 w 59521"/>
                  <a:gd name="connsiteY13" fmla="*/ 39327 h 58318"/>
                  <a:gd name="connsiteX14" fmla="*/ 50244 w 59521"/>
                  <a:gd name="connsiteY14" fmla="*/ 29159 h 58318"/>
                  <a:gd name="connsiteX15" fmla="*/ 47702 w 59521"/>
                  <a:gd name="connsiteY15" fmla="*/ 18841 h 58318"/>
                  <a:gd name="connsiteX16" fmla="*/ 40524 w 59521"/>
                  <a:gd name="connsiteY16" fmla="*/ 11664 h 58318"/>
                  <a:gd name="connsiteX17" fmla="*/ 20188 w 59521"/>
                  <a:gd name="connsiteY17" fmla="*/ 11664 h 58318"/>
                  <a:gd name="connsiteX18" fmla="*/ 13010 w 59521"/>
                  <a:gd name="connsiteY18" fmla="*/ 18841 h 58318"/>
                  <a:gd name="connsiteX19" fmla="*/ 10468 w 59521"/>
                  <a:gd name="connsiteY19" fmla="*/ 29159 h 58318"/>
                  <a:gd name="connsiteX20" fmla="*/ 13010 w 59521"/>
                  <a:gd name="connsiteY20" fmla="*/ 39327 h 58318"/>
                  <a:gd name="connsiteX21" fmla="*/ 20188 w 59521"/>
                  <a:gd name="connsiteY21" fmla="*/ 46505 h 58318"/>
                  <a:gd name="connsiteX22" fmla="*/ 40524 w 59521"/>
                  <a:gd name="connsiteY22" fmla="*/ 46505 h 5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9521" h="58318">
                    <a:moveTo>
                      <a:pt x="14805" y="54729"/>
                    </a:moveTo>
                    <a:cubicBezTo>
                      <a:pt x="10329" y="52232"/>
                      <a:pt x="6570" y="48629"/>
                      <a:pt x="3889" y="44262"/>
                    </a:cubicBezTo>
                    <a:cubicBezTo>
                      <a:pt x="1305" y="39701"/>
                      <a:pt x="-35" y="34542"/>
                      <a:pt x="1" y="29309"/>
                    </a:cubicBezTo>
                    <a:cubicBezTo>
                      <a:pt x="-35" y="24075"/>
                      <a:pt x="1305" y="18916"/>
                      <a:pt x="3889" y="14355"/>
                    </a:cubicBezTo>
                    <a:cubicBezTo>
                      <a:pt x="6465" y="9899"/>
                      <a:pt x="10250" y="6280"/>
                      <a:pt x="14805" y="3888"/>
                    </a:cubicBezTo>
                    <a:cubicBezTo>
                      <a:pt x="19406" y="1406"/>
                      <a:pt x="24535" y="75"/>
                      <a:pt x="29758" y="0"/>
                    </a:cubicBezTo>
                    <a:cubicBezTo>
                      <a:pt x="34984" y="60"/>
                      <a:pt x="40118" y="1391"/>
                      <a:pt x="44711" y="3888"/>
                    </a:cubicBezTo>
                    <a:cubicBezTo>
                      <a:pt x="49227" y="6265"/>
                      <a:pt x="53004" y="9824"/>
                      <a:pt x="55627" y="14206"/>
                    </a:cubicBezTo>
                    <a:cubicBezTo>
                      <a:pt x="58258" y="18752"/>
                      <a:pt x="59602" y="23911"/>
                      <a:pt x="59515" y="29159"/>
                    </a:cubicBezTo>
                    <a:cubicBezTo>
                      <a:pt x="59732" y="39776"/>
                      <a:pt x="53948" y="49615"/>
                      <a:pt x="44562" y="54580"/>
                    </a:cubicBezTo>
                    <a:cubicBezTo>
                      <a:pt x="39932" y="56958"/>
                      <a:pt x="34815" y="58244"/>
                      <a:pt x="29608" y="58318"/>
                    </a:cubicBezTo>
                    <a:cubicBezTo>
                      <a:pt x="24405" y="58229"/>
                      <a:pt x="19291" y="56943"/>
                      <a:pt x="14655" y="54580"/>
                    </a:cubicBezTo>
                    <a:moveTo>
                      <a:pt x="40524" y="46505"/>
                    </a:moveTo>
                    <a:cubicBezTo>
                      <a:pt x="43608" y="44920"/>
                      <a:pt x="46119" y="42408"/>
                      <a:pt x="47702" y="39327"/>
                    </a:cubicBezTo>
                    <a:cubicBezTo>
                      <a:pt x="49465" y="36232"/>
                      <a:pt x="50344" y="32718"/>
                      <a:pt x="50244" y="29159"/>
                    </a:cubicBezTo>
                    <a:cubicBezTo>
                      <a:pt x="50349" y="25555"/>
                      <a:pt x="49470" y="21982"/>
                      <a:pt x="47702" y="18841"/>
                    </a:cubicBezTo>
                    <a:cubicBezTo>
                      <a:pt x="46030" y="15821"/>
                      <a:pt x="43543" y="13338"/>
                      <a:pt x="40524" y="11664"/>
                    </a:cubicBezTo>
                    <a:cubicBezTo>
                      <a:pt x="34166" y="8284"/>
                      <a:pt x="26546" y="8284"/>
                      <a:pt x="20188" y="11664"/>
                    </a:cubicBezTo>
                    <a:cubicBezTo>
                      <a:pt x="17234" y="13428"/>
                      <a:pt x="14767" y="15895"/>
                      <a:pt x="13010" y="18841"/>
                    </a:cubicBezTo>
                    <a:cubicBezTo>
                      <a:pt x="11243" y="21982"/>
                      <a:pt x="10363" y="25555"/>
                      <a:pt x="10468" y="29159"/>
                    </a:cubicBezTo>
                    <a:cubicBezTo>
                      <a:pt x="10368" y="32718"/>
                      <a:pt x="11247" y="36232"/>
                      <a:pt x="13010" y="39327"/>
                    </a:cubicBezTo>
                    <a:cubicBezTo>
                      <a:pt x="14682" y="42348"/>
                      <a:pt x="17169" y="44830"/>
                      <a:pt x="20188" y="46505"/>
                    </a:cubicBezTo>
                    <a:cubicBezTo>
                      <a:pt x="26546" y="49885"/>
                      <a:pt x="34166" y="49885"/>
                      <a:pt x="40524" y="4650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62DB8761-4528-51FD-6A04-6C07ABE1BA1A}"/>
                  </a:ext>
                </a:extLst>
              </p:cNvPr>
              <p:cNvSpPr/>
              <p:nvPr/>
            </p:nvSpPr>
            <p:spPr>
              <a:xfrm>
                <a:off x="4168027" y="3305780"/>
                <a:ext cx="62206" cy="56673"/>
              </a:xfrm>
              <a:custGeom>
                <a:avLst/>
                <a:gdLst>
                  <a:gd name="connsiteX0" fmla="*/ 52187 w 62206"/>
                  <a:gd name="connsiteY0" fmla="*/ 56673 h 56673"/>
                  <a:gd name="connsiteX1" fmla="*/ 52038 w 62206"/>
                  <a:gd name="connsiteY1" fmla="*/ 19140 h 56673"/>
                  <a:gd name="connsiteX2" fmla="*/ 33496 w 62206"/>
                  <a:gd name="connsiteY2" fmla="*/ 50244 h 56673"/>
                  <a:gd name="connsiteX3" fmla="*/ 28711 w 62206"/>
                  <a:gd name="connsiteY3" fmla="*/ 50244 h 56673"/>
                  <a:gd name="connsiteX4" fmla="*/ 10168 w 62206"/>
                  <a:gd name="connsiteY4" fmla="*/ 19589 h 56673"/>
                  <a:gd name="connsiteX5" fmla="*/ 10168 w 62206"/>
                  <a:gd name="connsiteY5" fmla="*/ 56673 h 56673"/>
                  <a:gd name="connsiteX6" fmla="*/ 0 w 62206"/>
                  <a:gd name="connsiteY6" fmla="*/ 56673 h 56673"/>
                  <a:gd name="connsiteX7" fmla="*/ 0 w 62206"/>
                  <a:gd name="connsiteY7" fmla="*/ 0 h 56673"/>
                  <a:gd name="connsiteX8" fmla="*/ 8673 w 62206"/>
                  <a:gd name="connsiteY8" fmla="*/ 0 h 56673"/>
                  <a:gd name="connsiteX9" fmla="*/ 31253 w 62206"/>
                  <a:gd name="connsiteY9" fmla="*/ 37533 h 56673"/>
                  <a:gd name="connsiteX10" fmla="*/ 53384 w 62206"/>
                  <a:gd name="connsiteY10" fmla="*/ 0 h 56673"/>
                  <a:gd name="connsiteX11" fmla="*/ 62057 w 62206"/>
                  <a:gd name="connsiteY11" fmla="*/ 0 h 56673"/>
                  <a:gd name="connsiteX12" fmla="*/ 62206 w 62206"/>
                  <a:gd name="connsiteY12" fmla="*/ 56673 h 56673"/>
                  <a:gd name="connsiteX13" fmla="*/ 52187 w 62206"/>
                  <a:gd name="connsiteY13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206" h="56673">
                    <a:moveTo>
                      <a:pt x="52187" y="56673"/>
                    </a:moveTo>
                    <a:lnTo>
                      <a:pt x="52038" y="19140"/>
                    </a:lnTo>
                    <a:lnTo>
                      <a:pt x="33496" y="50244"/>
                    </a:lnTo>
                    <a:lnTo>
                      <a:pt x="28711" y="50244"/>
                    </a:lnTo>
                    <a:lnTo>
                      <a:pt x="10168" y="19589"/>
                    </a:lnTo>
                    <a:lnTo>
                      <a:pt x="10168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253" y="37533"/>
                    </a:lnTo>
                    <a:lnTo>
                      <a:pt x="53384" y="0"/>
                    </a:lnTo>
                    <a:lnTo>
                      <a:pt x="62057" y="0"/>
                    </a:lnTo>
                    <a:lnTo>
                      <a:pt x="62206" y="56673"/>
                    </a:lnTo>
                    <a:lnTo>
                      <a:pt x="52187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A26DF9DA-627E-E267-1EE4-57771F480D32}"/>
                  </a:ext>
                </a:extLst>
              </p:cNvPr>
              <p:cNvSpPr/>
              <p:nvPr/>
            </p:nvSpPr>
            <p:spPr>
              <a:xfrm>
                <a:off x="4283019" y="3305766"/>
                <a:ext cx="47560" cy="56687"/>
              </a:xfrm>
              <a:custGeom>
                <a:avLst/>
                <a:gdLst>
                  <a:gd name="connsiteX0" fmla="*/ 36187 w 47560"/>
                  <a:gd name="connsiteY0" fmla="*/ 2407 h 56687"/>
                  <a:gd name="connsiteX1" fmla="*/ 47552 w 47560"/>
                  <a:gd name="connsiteY1" fmla="*/ 20201 h 56687"/>
                  <a:gd name="connsiteX2" fmla="*/ 44561 w 47560"/>
                  <a:gd name="connsiteY2" fmla="*/ 30968 h 56687"/>
                  <a:gd name="connsiteX3" fmla="*/ 36187 w 47560"/>
                  <a:gd name="connsiteY3" fmla="*/ 37996 h 56687"/>
                  <a:gd name="connsiteX4" fmla="*/ 23327 w 47560"/>
                  <a:gd name="connsiteY4" fmla="*/ 40388 h 56687"/>
                  <a:gd name="connsiteX5" fmla="*/ 10617 w 47560"/>
                  <a:gd name="connsiteY5" fmla="*/ 40388 h 56687"/>
                  <a:gd name="connsiteX6" fmla="*/ 10617 w 47560"/>
                  <a:gd name="connsiteY6" fmla="*/ 56688 h 56687"/>
                  <a:gd name="connsiteX7" fmla="*/ 0 w 47560"/>
                  <a:gd name="connsiteY7" fmla="*/ 56688 h 56687"/>
                  <a:gd name="connsiteX8" fmla="*/ 0 w 47560"/>
                  <a:gd name="connsiteY8" fmla="*/ 14 h 56687"/>
                  <a:gd name="connsiteX9" fmla="*/ 23327 w 47560"/>
                  <a:gd name="connsiteY9" fmla="*/ 14 h 56687"/>
                  <a:gd name="connsiteX10" fmla="*/ 36187 w 47560"/>
                  <a:gd name="connsiteY10" fmla="*/ 2407 h 56687"/>
                  <a:gd name="connsiteX11" fmla="*/ 33346 w 47560"/>
                  <a:gd name="connsiteY11" fmla="*/ 28575 h 56687"/>
                  <a:gd name="connsiteX12" fmla="*/ 33825 w 47560"/>
                  <a:gd name="connsiteY12" fmla="*/ 12306 h 56687"/>
                  <a:gd name="connsiteX13" fmla="*/ 33346 w 47560"/>
                  <a:gd name="connsiteY13" fmla="*/ 11827 h 56687"/>
                  <a:gd name="connsiteX14" fmla="*/ 22879 w 47560"/>
                  <a:gd name="connsiteY14" fmla="*/ 8986 h 56687"/>
                  <a:gd name="connsiteX15" fmla="*/ 10617 w 47560"/>
                  <a:gd name="connsiteY15" fmla="*/ 8986 h 56687"/>
                  <a:gd name="connsiteX16" fmla="*/ 10617 w 47560"/>
                  <a:gd name="connsiteY16" fmla="*/ 31416 h 56687"/>
                  <a:gd name="connsiteX17" fmla="*/ 22879 w 47560"/>
                  <a:gd name="connsiteY17" fmla="*/ 31416 h 56687"/>
                  <a:gd name="connsiteX18" fmla="*/ 33346 w 47560"/>
                  <a:gd name="connsiteY18" fmla="*/ 28575 h 5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7560" h="56687">
                    <a:moveTo>
                      <a:pt x="36187" y="2407"/>
                    </a:moveTo>
                    <a:cubicBezTo>
                      <a:pt x="43290" y="5427"/>
                      <a:pt x="47791" y="12500"/>
                      <a:pt x="47552" y="20201"/>
                    </a:cubicBezTo>
                    <a:cubicBezTo>
                      <a:pt x="47597" y="24000"/>
                      <a:pt x="46565" y="27738"/>
                      <a:pt x="44561" y="30968"/>
                    </a:cubicBezTo>
                    <a:cubicBezTo>
                      <a:pt x="42498" y="34063"/>
                      <a:pt x="39597" y="36501"/>
                      <a:pt x="36187" y="37996"/>
                    </a:cubicBezTo>
                    <a:cubicBezTo>
                      <a:pt x="32105" y="39626"/>
                      <a:pt x="27724" y="40448"/>
                      <a:pt x="23327" y="40388"/>
                    </a:cubicBezTo>
                    <a:lnTo>
                      <a:pt x="10617" y="40388"/>
                    </a:lnTo>
                    <a:lnTo>
                      <a:pt x="10617" y="56688"/>
                    </a:lnTo>
                    <a:lnTo>
                      <a:pt x="0" y="56688"/>
                    </a:lnTo>
                    <a:lnTo>
                      <a:pt x="0" y="14"/>
                    </a:lnTo>
                    <a:lnTo>
                      <a:pt x="23327" y="14"/>
                    </a:lnTo>
                    <a:cubicBezTo>
                      <a:pt x="27739" y="-120"/>
                      <a:pt x="32120" y="702"/>
                      <a:pt x="36187" y="2407"/>
                    </a:cubicBezTo>
                    <a:moveTo>
                      <a:pt x="33346" y="28575"/>
                    </a:moveTo>
                    <a:cubicBezTo>
                      <a:pt x="37967" y="24209"/>
                      <a:pt x="38176" y="16927"/>
                      <a:pt x="33825" y="12306"/>
                    </a:cubicBezTo>
                    <a:cubicBezTo>
                      <a:pt x="33660" y="12141"/>
                      <a:pt x="33511" y="11977"/>
                      <a:pt x="33346" y="11827"/>
                    </a:cubicBezTo>
                    <a:cubicBezTo>
                      <a:pt x="30296" y="9704"/>
                      <a:pt x="26587" y="8702"/>
                      <a:pt x="22879" y="8986"/>
                    </a:cubicBezTo>
                    <a:lnTo>
                      <a:pt x="10617" y="8986"/>
                    </a:lnTo>
                    <a:lnTo>
                      <a:pt x="10617" y="31416"/>
                    </a:lnTo>
                    <a:lnTo>
                      <a:pt x="22879" y="31416"/>
                    </a:lnTo>
                    <a:cubicBezTo>
                      <a:pt x="26587" y="31701"/>
                      <a:pt x="30296" y="30699"/>
                      <a:pt x="33346" y="2857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17F087B9-A1DD-F6A7-8E75-35770D31A886}"/>
                  </a:ext>
                </a:extLst>
              </p:cNvPr>
              <p:cNvSpPr/>
              <p:nvPr/>
            </p:nvSpPr>
            <p:spPr>
              <a:xfrm>
                <a:off x="4369599" y="3305780"/>
                <a:ext cx="48299" cy="56673"/>
              </a:xfrm>
              <a:custGeom>
                <a:avLst/>
                <a:gdLst>
                  <a:gd name="connsiteX0" fmla="*/ 18841 w 48299"/>
                  <a:gd name="connsiteY0" fmla="*/ 8972 h 56673"/>
                  <a:gd name="connsiteX1" fmla="*/ 0 w 48299"/>
                  <a:gd name="connsiteY1" fmla="*/ 8972 h 56673"/>
                  <a:gd name="connsiteX2" fmla="*/ 0 w 48299"/>
                  <a:gd name="connsiteY2" fmla="*/ 0 h 56673"/>
                  <a:gd name="connsiteX3" fmla="*/ 48299 w 48299"/>
                  <a:gd name="connsiteY3" fmla="*/ 0 h 56673"/>
                  <a:gd name="connsiteX4" fmla="*/ 48299 w 48299"/>
                  <a:gd name="connsiteY4" fmla="*/ 8972 h 56673"/>
                  <a:gd name="connsiteX5" fmla="*/ 29458 w 48299"/>
                  <a:gd name="connsiteY5" fmla="*/ 8972 h 56673"/>
                  <a:gd name="connsiteX6" fmla="*/ 29458 w 48299"/>
                  <a:gd name="connsiteY6" fmla="*/ 56673 h 56673"/>
                  <a:gd name="connsiteX7" fmla="*/ 18841 w 48299"/>
                  <a:gd name="connsiteY7" fmla="*/ 56673 h 56673"/>
                  <a:gd name="connsiteX8" fmla="*/ 18841 w 48299"/>
                  <a:gd name="connsiteY8" fmla="*/ 8972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99" h="56673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299" y="0"/>
                    </a:lnTo>
                    <a:lnTo>
                      <a:pt x="48299" y="8972"/>
                    </a:lnTo>
                    <a:lnTo>
                      <a:pt x="29458" y="8972"/>
                    </a:lnTo>
                    <a:lnTo>
                      <a:pt x="29458" y="56673"/>
                    </a:lnTo>
                    <a:lnTo>
                      <a:pt x="18841" y="5667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3D8033E5-C154-4A2A-DAAB-C3D170722A60}"/>
                  </a:ext>
                </a:extLst>
              </p:cNvPr>
              <p:cNvSpPr/>
              <p:nvPr/>
            </p:nvSpPr>
            <p:spPr>
              <a:xfrm>
                <a:off x="4452441" y="3305780"/>
                <a:ext cx="61607" cy="56823"/>
              </a:xfrm>
              <a:custGeom>
                <a:avLst/>
                <a:gdLst>
                  <a:gd name="connsiteX0" fmla="*/ 44860 w 61607"/>
                  <a:gd name="connsiteY0" fmla="*/ 43664 h 56823"/>
                  <a:gd name="connsiteX1" fmla="*/ 16449 w 61607"/>
                  <a:gd name="connsiteY1" fmla="*/ 43664 h 56823"/>
                  <a:gd name="connsiteX2" fmla="*/ 10916 w 61607"/>
                  <a:gd name="connsiteY2" fmla="*/ 56823 h 56823"/>
                  <a:gd name="connsiteX3" fmla="*/ 0 w 61607"/>
                  <a:gd name="connsiteY3" fmla="*/ 56823 h 56823"/>
                  <a:gd name="connsiteX4" fmla="*/ 25570 w 61607"/>
                  <a:gd name="connsiteY4" fmla="*/ 0 h 56823"/>
                  <a:gd name="connsiteX5" fmla="*/ 35888 w 61607"/>
                  <a:gd name="connsiteY5" fmla="*/ 0 h 56823"/>
                  <a:gd name="connsiteX6" fmla="*/ 61608 w 61607"/>
                  <a:gd name="connsiteY6" fmla="*/ 56823 h 56823"/>
                  <a:gd name="connsiteX7" fmla="*/ 50542 w 61607"/>
                  <a:gd name="connsiteY7" fmla="*/ 56823 h 56823"/>
                  <a:gd name="connsiteX8" fmla="*/ 41421 w 61607"/>
                  <a:gd name="connsiteY8" fmla="*/ 35290 h 56823"/>
                  <a:gd name="connsiteX9" fmla="*/ 30654 w 61607"/>
                  <a:gd name="connsiteY9" fmla="*/ 10617 h 56823"/>
                  <a:gd name="connsiteX10" fmla="*/ 20038 w 61607"/>
                  <a:gd name="connsiteY10" fmla="*/ 35290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07" h="56823">
                    <a:moveTo>
                      <a:pt x="44860" y="43664"/>
                    </a:moveTo>
                    <a:lnTo>
                      <a:pt x="16449" y="43664"/>
                    </a:lnTo>
                    <a:lnTo>
                      <a:pt x="10916" y="56823"/>
                    </a:lnTo>
                    <a:lnTo>
                      <a:pt x="0" y="56823"/>
                    </a:lnTo>
                    <a:lnTo>
                      <a:pt x="25570" y="0"/>
                    </a:lnTo>
                    <a:lnTo>
                      <a:pt x="35888" y="0"/>
                    </a:lnTo>
                    <a:lnTo>
                      <a:pt x="61608" y="56823"/>
                    </a:lnTo>
                    <a:lnTo>
                      <a:pt x="50542" y="56823"/>
                    </a:lnTo>
                    <a:close/>
                    <a:moveTo>
                      <a:pt x="41421" y="35290"/>
                    </a:moveTo>
                    <a:lnTo>
                      <a:pt x="30654" y="1061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5D6B317D-2B9C-2D04-0B87-52684F1FA001}"/>
                  </a:ext>
                </a:extLst>
              </p:cNvPr>
              <p:cNvSpPr/>
              <p:nvPr/>
            </p:nvSpPr>
            <p:spPr>
              <a:xfrm>
                <a:off x="4558760" y="3305759"/>
                <a:ext cx="50403" cy="56747"/>
              </a:xfrm>
              <a:custGeom>
                <a:avLst/>
                <a:gdLst>
                  <a:gd name="connsiteX0" fmla="*/ 47701 w 50403"/>
                  <a:gd name="connsiteY0" fmla="*/ 32470 h 56747"/>
                  <a:gd name="connsiteX1" fmla="*/ 50393 w 50403"/>
                  <a:gd name="connsiteY1" fmla="*/ 41293 h 56747"/>
                  <a:gd name="connsiteX2" fmla="*/ 44711 w 50403"/>
                  <a:gd name="connsiteY2" fmla="*/ 52807 h 56747"/>
                  <a:gd name="connsiteX3" fmla="*/ 28112 w 50403"/>
                  <a:gd name="connsiteY3" fmla="*/ 56695 h 56747"/>
                  <a:gd name="connsiteX4" fmla="*/ 0 w 50403"/>
                  <a:gd name="connsiteY4" fmla="*/ 56695 h 56747"/>
                  <a:gd name="connsiteX5" fmla="*/ 0 w 50403"/>
                  <a:gd name="connsiteY5" fmla="*/ 21 h 56747"/>
                  <a:gd name="connsiteX6" fmla="*/ 26617 w 50403"/>
                  <a:gd name="connsiteY6" fmla="*/ 21 h 56747"/>
                  <a:gd name="connsiteX7" fmla="*/ 41571 w 50403"/>
                  <a:gd name="connsiteY7" fmla="*/ 3909 h 56747"/>
                  <a:gd name="connsiteX8" fmla="*/ 46954 w 50403"/>
                  <a:gd name="connsiteY8" fmla="*/ 14825 h 56747"/>
                  <a:gd name="connsiteX9" fmla="*/ 45010 w 50403"/>
                  <a:gd name="connsiteY9" fmla="*/ 22302 h 56747"/>
                  <a:gd name="connsiteX10" fmla="*/ 39776 w 50403"/>
                  <a:gd name="connsiteY10" fmla="*/ 27236 h 56747"/>
                  <a:gd name="connsiteX11" fmla="*/ 47253 w 50403"/>
                  <a:gd name="connsiteY11" fmla="*/ 32470 h 56747"/>
                  <a:gd name="connsiteX12" fmla="*/ 10019 w 50403"/>
                  <a:gd name="connsiteY12" fmla="*/ 8246 h 56747"/>
                  <a:gd name="connsiteX13" fmla="*/ 10019 w 50403"/>
                  <a:gd name="connsiteY13" fmla="*/ 23199 h 56747"/>
                  <a:gd name="connsiteX14" fmla="*/ 24972 w 50403"/>
                  <a:gd name="connsiteY14" fmla="*/ 23199 h 56747"/>
                  <a:gd name="connsiteX15" fmla="*/ 33496 w 50403"/>
                  <a:gd name="connsiteY15" fmla="*/ 21255 h 56747"/>
                  <a:gd name="connsiteX16" fmla="*/ 36337 w 50403"/>
                  <a:gd name="connsiteY16" fmla="*/ 15423 h 56747"/>
                  <a:gd name="connsiteX17" fmla="*/ 33496 w 50403"/>
                  <a:gd name="connsiteY17" fmla="*/ 9591 h 56747"/>
                  <a:gd name="connsiteX18" fmla="*/ 24972 w 50403"/>
                  <a:gd name="connsiteY18" fmla="*/ 7498 h 56747"/>
                  <a:gd name="connsiteX19" fmla="*/ 39926 w 50403"/>
                  <a:gd name="connsiteY19" fmla="*/ 40246 h 56747"/>
                  <a:gd name="connsiteX20" fmla="*/ 27664 w 50403"/>
                  <a:gd name="connsiteY20" fmla="*/ 32171 h 56747"/>
                  <a:gd name="connsiteX21" fmla="*/ 10617 w 50403"/>
                  <a:gd name="connsiteY21" fmla="*/ 32171 h 56747"/>
                  <a:gd name="connsiteX22" fmla="*/ 10617 w 50403"/>
                  <a:gd name="connsiteY22" fmla="*/ 48470 h 56747"/>
                  <a:gd name="connsiteX23" fmla="*/ 27664 w 50403"/>
                  <a:gd name="connsiteY23" fmla="*/ 48470 h 56747"/>
                  <a:gd name="connsiteX24" fmla="*/ 39926 w 50403"/>
                  <a:gd name="connsiteY24" fmla="*/ 40246 h 56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0403" h="56747">
                    <a:moveTo>
                      <a:pt x="47701" y="32470"/>
                    </a:moveTo>
                    <a:cubicBezTo>
                      <a:pt x="49511" y="35057"/>
                      <a:pt x="50453" y="38138"/>
                      <a:pt x="50393" y="41293"/>
                    </a:cubicBezTo>
                    <a:cubicBezTo>
                      <a:pt x="50572" y="45839"/>
                      <a:pt x="48434" y="50175"/>
                      <a:pt x="44711" y="52807"/>
                    </a:cubicBezTo>
                    <a:cubicBezTo>
                      <a:pt x="39671" y="55693"/>
                      <a:pt x="33899" y="57039"/>
                      <a:pt x="28112" y="56695"/>
                    </a:cubicBezTo>
                    <a:lnTo>
                      <a:pt x="0" y="56695"/>
                    </a:lnTo>
                    <a:lnTo>
                      <a:pt x="0" y="21"/>
                    </a:lnTo>
                    <a:lnTo>
                      <a:pt x="26617" y="21"/>
                    </a:lnTo>
                    <a:cubicBezTo>
                      <a:pt x="31881" y="-188"/>
                      <a:pt x="37085" y="1158"/>
                      <a:pt x="41571" y="3909"/>
                    </a:cubicBezTo>
                    <a:cubicBezTo>
                      <a:pt x="45085" y="6421"/>
                      <a:pt x="47103" y="10519"/>
                      <a:pt x="46954" y="14825"/>
                    </a:cubicBezTo>
                    <a:cubicBezTo>
                      <a:pt x="46969" y="17442"/>
                      <a:pt x="46296" y="20029"/>
                      <a:pt x="45010" y="22302"/>
                    </a:cubicBezTo>
                    <a:cubicBezTo>
                      <a:pt x="43769" y="24410"/>
                      <a:pt x="41959" y="26130"/>
                      <a:pt x="39776" y="27236"/>
                    </a:cubicBezTo>
                    <a:cubicBezTo>
                      <a:pt x="42722" y="28208"/>
                      <a:pt x="45324" y="30033"/>
                      <a:pt x="47253" y="32470"/>
                    </a:cubicBezTo>
                    <a:moveTo>
                      <a:pt x="10019" y="8246"/>
                    </a:moveTo>
                    <a:lnTo>
                      <a:pt x="10019" y="23199"/>
                    </a:lnTo>
                    <a:lnTo>
                      <a:pt x="24972" y="23199"/>
                    </a:lnTo>
                    <a:cubicBezTo>
                      <a:pt x="27948" y="23408"/>
                      <a:pt x="30909" y="22735"/>
                      <a:pt x="33496" y="21255"/>
                    </a:cubicBezTo>
                    <a:cubicBezTo>
                      <a:pt x="35395" y="19939"/>
                      <a:pt x="36486" y="17726"/>
                      <a:pt x="36337" y="15423"/>
                    </a:cubicBezTo>
                    <a:cubicBezTo>
                      <a:pt x="36546" y="13105"/>
                      <a:pt x="35455" y="10862"/>
                      <a:pt x="33496" y="9591"/>
                    </a:cubicBezTo>
                    <a:cubicBezTo>
                      <a:pt x="30924" y="8051"/>
                      <a:pt x="27963" y="7333"/>
                      <a:pt x="24972" y="7498"/>
                    </a:cubicBezTo>
                    <a:close/>
                    <a:moveTo>
                      <a:pt x="39926" y="40246"/>
                    </a:moveTo>
                    <a:cubicBezTo>
                      <a:pt x="39926" y="34863"/>
                      <a:pt x="35888" y="32171"/>
                      <a:pt x="27664" y="32171"/>
                    </a:cubicBezTo>
                    <a:lnTo>
                      <a:pt x="10617" y="32171"/>
                    </a:lnTo>
                    <a:lnTo>
                      <a:pt x="10617" y="48470"/>
                    </a:lnTo>
                    <a:lnTo>
                      <a:pt x="27664" y="48470"/>
                    </a:lnTo>
                    <a:cubicBezTo>
                      <a:pt x="35888" y="48470"/>
                      <a:pt x="39926" y="45779"/>
                      <a:pt x="39926" y="4024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62D202F0-B240-2051-2363-11712D09C45A}"/>
                  </a:ext>
                </a:extLst>
              </p:cNvPr>
              <p:cNvSpPr/>
              <p:nvPr/>
            </p:nvSpPr>
            <p:spPr>
              <a:xfrm>
                <a:off x="4657901" y="3305780"/>
                <a:ext cx="40224" cy="56673"/>
              </a:xfrm>
              <a:custGeom>
                <a:avLst/>
                <a:gdLst>
                  <a:gd name="connsiteX0" fmla="*/ 0 w 40224"/>
                  <a:gd name="connsiteY0" fmla="*/ 0 h 56673"/>
                  <a:gd name="connsiteX1" fmla="*/ 10617 w 40224"/>
                  <a:gd name="connsiteY1" fmla="*/ 0 h 56673"/>
                  <a:gd name="connsiteX2" fmla="*/ 10617 w 40224"/>
                  <a:gd name="connsiteY2" fmla="*/ 47851 h 56673"/>
                  <a:gd name="connsiteX3" fmla="*/ 40225 w 40224"/>
                  <a:gd name="connsiteY3" fmla="*/ 47851 h 56673"/>
                  <a:gd name="connsiteX4" fmla="*/ 40225 w 40224"/>
                  <a:gd name="connsiteY4" fmla="*/ 56673 h 56673"/>
                  <a:gd name="connsiteX5" fmla="*/ 0 w 40224"/>
                  <a:gd name="connsiteY5" fmla="*/ 56673 h 56673"/>
                  <a:gd name="connsiteX6" fmla="*/ 0 w 40224"/>
                  <a:gd name="connsiteY6" fmla="*/ 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224" h="56673">
                    <a:moveTo>
                      <a:pt x="0" y="0"/>
                    </a:moveTo>
                    <a:lnTo>
                      <a:pt x="10617" y="0"/>
                    </a:lnTo>
                    <a:lnTo>
                      <a:pt x="10617" y="47851"/>
                    </a:lnTo>
                    <a:lnTo>
                      <a:pt x="40225" y="47851"/>
                    </a:lnTo>
                    <a:lnTo>
                      <a:pt x="40225" y="56673"/>
                    </a:lnTo>
                    <a:lnTo>
                      <a:pt x="0" y="5667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7B22793E-5B44-B5EB-918E-0A963AFB8461}"/>
                  </a:ext>
                </a:extLst>
              </p:cNvPr>
              <p:cNvSpPr/>
              <p:nvPr/>
            </p:nvSpPr>
            <p:spPr>
              <a:xfrm>
                <a:off x="4744032" y="3305780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3 h 56673"/>
                  <a:gd name="connsiteX6" fmla="*/ 10617 w 42617"/>
                  <a:gd name="connsiteY6" fmla="*/ 8823 h 56673"/>
                  <a:gd name="connsiteX7" fmla="*/ 10617 w 42617"/>
                  <a:gd name="connsiteY7" fmla="*/ 23626 h 56673"/>
                  <a:gd name="connsiteX8" fmla="*/ 37982 w 42617"/>
                  <a:gd name="connsiteY8" fmla="*/ 23626 h 56673"/>
                  <a:gd name="connsiteX9" fmla="*/ 37982 w 42617"/>
                  <a:gd name="connsiteY9" fmla="*/ 32299 h 56673"/>
                  <a:gd name="connsiteX10" fmla="*/ 10617 w 42617"/>
                  <a:gd name="connsiteY10" fmla="*/ 32299 h 56673"/>
                  <a:gd name="connsiteX11" fmla="*/ 1061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3"/>
                    </a:lnTo>
                    <a:lnTo>
                      <a:pt x="10617" y="8823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129E3416-D9A6-F380-C678-CE5DFF459E96}"/>
                  </a:ext>
                </a:extLst>
              </p:cNvPr>
              <p:cNvSpPr/>
              <p:nvPr/>
            </p:nvSpPr>
            <p:spPr>
              <a:xfrm>
                <a:off x="4833149" y="3350334"/>
                <a:ext cx="12529" cy="24381"/>
              </a:xfrm>
              <a:custGeom>
                <a:avLst/>
                <a:gdLst>
                  <a:gd name="connsiteX0" fmla="*/ 10623 w 12529"/>
                  <a:gd name="connsiteY0" fmla="*/ 1204 h 24381"/>
                  <a:gd name="connsiteX1" fmla="*/ 12417 w 12529"/>
                  <a:gd name="connsiteY1" fmla="*/ 5989 h 24381"/>
                  <a:gd name="connsiteX2" fmla="*/ 12417 w 12529"/>
                  <a:gd name="connsiteY2" fmla="*/ 8680 h 24381"/>
                  <a:gd name="connsiteX3" fmla="*/ 10922 w 12529"/>
                  <a:gd name="connsiteY3" fmla="*/ 13017 h 24381"/>
                  <a:gd name="connsiteX4" fmla="*/ 6735 w 12529"/>
                  <a:gd name="connsiteY4" fmla="*/ 24382 h 24381"/>
                  <a:gd name="connsiteX5" fmla="*/ 155 w 12529"/>
                  <a:gd name="connsiteY5" fmla="*/ 24382 h 24381"/>
                  <a:gd name="connsiteX6" fmla="*/ 3445 w 12529"/>
                  <a:gd name="connsiteY6" fmla="*/ 11970 h 24381"/>
                  <a:gd name="connsiteX7" fmla="*/ 903 w 12529"/>
                  <a:gd name="connsiteY7" fmla="*/ 10475 h 24381"/>
                  <a:gd name="connsiteX8" fmla="*/ 6 w 12529"/>
                  <a:gd name="connsiteY8" fmla="*/ 6737 h 24381"/>
                  <a:gd name="connsiteX9" fmla="*/ 1800 w 12529"/>
                  <a:gd name="connsiteY9" fmla="*/ 1951 h 24381"/>
                  <a:gd name="connsiteX10" fmla="*/ 6436 w 12529"/>
                  <a:gd name="connsiteY10" fmla="*/ 8 h 24381"/>
                  <a:gd name="connsiteX11" fmla="*/ 11221 w 12529"/>
                  <a:gd name="connsiteY11" fmla="*/ 1951 h 2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29" h="24381">
                    <a:moveTo>
                      <a:pt x="10623" y="1204"/>
                    </a:moveTo>
                    <a:cubicBezTo>
                      <a:pt x="11834" y="2490"/>
                      <a:pt x="12492" y="4224"/>
                      <a:pt x="12417" y="5989"/>
                    </a:cubicBezTo>
                    <a:cubicBezTo>
                      <a:pt x="12567" y="6886"/>
                      <a:pt x="12567" y="7783"/>
                      <a:pt x="12417" y="8680"/>
                    </a:cubicBezTo>
                    <a:cubicBezTo>
                      <a:pt x="12417" y="9727"/>
                      <a:pt x="11669" y="11073"/>
                      <a:pt x="10922" y="13017"/>
                    </a:cubicBezTo>
                    <a:lnTo>
                      <a:pt x="6735" y="24382"/>
                    </a:lnTo>
                    <a:lnTo>
                      <a:pt x="155" y="24382"/>
                    </a:lnTo>
                    <a:lnTo>
                      <a:pt x="3445" y="11970"/>
                    </a:lnTo>
                    <a:cubicBezTo>
                      <a:pt x="2488" y="11686"/>
                      <a:pt x="1606" y="11178"/>
                      <a:pt x="903" y="10475"/>
                    </a:cubicBezTo>
                    <a:cubicBezTo>
                      <a:pt x="275" y="9323"/>
                      <a:pt x="-39" y="8037"/>
                      <a:pt x="6" y="6737"/>
                    </a:cubicBezTo>
                    <a:cubicBezTo>
                      <a:pt x="-69" y="4972"/>
                      <a:pt x="589" y="3237"/>
                      <a:pt x="1800" y="1951"/>
                    </a:cubicBezTo>
                    <a:cubicBezTo>
                      <a:pt x="2982" y="651"/>
                      <a:pt x="4686" y="-52"/>
                      <a:pt x="6436" y="8"/>
                    </a:cubicBezTo>
                    <a:cubicBezTo>
                      <a:pt x="8245" y="-82"/>
                      <a:pt x="9995" y="636"/>
                      <a:pt x="11221" y="195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F1FC5E51-2C62-F05E-994E-7B95456812B0}"/>
                  </a:ext>
                </a:extLst>
              </p:cNvPr>
              <p:cNvSpPr/>
              <p:nvPr/>
            </p:nvSpPr>
            <p:spPr>
              <a:xfrm>
                <a:off x="2714705" y="3403117"/>
                <a:ext cx="55895" cy="56835"/>
              </a:xfrm>
              <a:custGeom>
                <a:avLst/>
                <a:gdLst>
                  <a:gd name="connsiteX0" fmla="*/ 0 w 55895"/>
                  <a:gd name="connsiteY0" fmla="*/ 10 h 56835"/>
                  <a:gd name="connsiteX1" fmla="*/ 24823 w 55895"/>
                  <a:gd name="connsiteY1" fmla="*/ 10 h 56835"/>
                  <a:gd name="connsiteX2" fmla="*/ 40972 w 55895"/>
                  <a:gd name="connsiteY2" fmla="*/ 3450 h 56835"/>
                  <a:gd name="connsiteX3" fmla="*/ 51888 w 55895"/>
                  <a:gd name="connsiteY3" fmla="*/ 13468 h 56835"/>
                  <a:gd name="connsiteX4" fmla="*/ 51888 w 55895"/>
                  <a:gd name="connsiteY4" fmla="*/ 43375 h 56835"/>
                  <a:gd name="connsiteX5" fmla="*/ 40972 w 55895"/>
                  <a:gd name="connsiteY5" fmla="*/ 53394 h 56835"/>
                  <a:gd name="connsiteX6" fmla="*/ 24823 w 55895"/>
                  <a:gd name="connsiteY6" fmla="*/ 56833 h 56835"/>
                  <a:gd name="connsiteX7" fmla="*/ 0 w 55895"/>
                  <a:gd name="connsiteY7" fmla="*/ 56833 h 56835"/>
                  <a:gd name="connsiteX8" fmla="*/ 24374 w 55895"/>
                  <a:gd name="connsiteY8" fmla="*/ 47413 h 56835"/>
                  <a:gd name="connsiteX9" fmla="*/ 35290 w 55895"/>
                  <a:gd name="connsiteY9" fmla="*/ 45020 h 56835"/>
                  <a:gd name="connsiteX10" fmla="*/ 42617 w 55895"/>
                  <a:gd name="connsiteY10" fmla="*/ 38291 h 56835"/>
                  <a:gd name="connsiteX11" fmla="*/ 45159 w 55895"/>
                  <a:gd name="connsiteY11" fmla="*/ 27973 h 56835"/>
                  <a:gd name="connsiteX12" fmla="*/ 42617 w 55895"/>
                  <a:gd name="connsiteY12" fmla="*/ 17805 h 56835"/>
                  <a:gd name="connsiteX13" fmla="*/ 35290 w 55895"/>
                  <a:gd name="connsiteY13" fmla="*/ 10926 h 56835"/>
                  <a:gd name="connsiteX14" fmla="*/ 24374 w 55895"/>
                  <a:gd name="connsiteY14" fmla="*/ 8534 h 56835"/>
                  <a:gd name="connsiteX15" fmla="*/ 10916 w 55895"/>
                  <a:gd name="connsiteY15" fmla="*/ 8534 h 56835"/>
                  <a:gd name="connsiteX16" fmla="*/ 10916 w 55895"/>
                  <a:gd name="connsiteY16" fmla="*/ 47413 h 56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5895" h="56835">
                    <a:moveTo>
                      <a:pt x="0" y="10"/>
                    </a:moveTo>
                    <a:lnTo>
                      <a:pt x="24823" y="10"/>
                    </a:lnTo>
                    <a:cubicBezTo>
                      <a:pt x="30401" y="-124"/>
                      <a:pt x="35933" y="1057"/>
                      <a:pt x="40972" y="3450"/>
                    </a:cubicBezTo>
                    <a:cubicBezTo>
                      <a:pt x="45500" y="5663"/>
                      <a:pt x="49291" y="9147"/>
                      <a:pt x="51888" y="13468"/>
                    </a:cubicBezTo>
                    <a:cubicBezTo>
                      <a:pt x="57231" y="22725"/>
                      <a:pt x="57231" y="34119"/>
                      <a:pt x="51888" y="43375"/>
                    </a:cubicBezTo>
                    <a:cubicBezTo>
                      <a:pt x="49291" y="47697"/>
                      <a:pt x="45500" y="51181"/>
                      <a:pt x="40972" y="53394"/>
                    </a:cubicBezTo>
                    <a:cubicBezTo>
                      <a:pt x="35910" y="55727"/>
                      <a:pt x="30394" y="56893"/>
                      <a:pt x="24823" y="56833"/>
                    </a:cubicBezTo>
                    <a:lnTo>
                      <a:pt x="0" y="56833"/>
                    </a:lnTo>
                    <a:close/>
                    <a:moveTo>
                      <a:pt x="24374" y="47413"/>
                    </a:moveTo>
                    <a:cubicBezTo>
                      <a:pt x="28154" y="47517"/>
                      <a:pt x="31903" y="46695"/>
                      <a:pt x="35290" y="45020"/>
                    </a:cubicBezTo>
                    <a:cubicBezTo>
                      <a:pt x="38385" y="43615"/>
                      <a:pt x="40952" y="41252"/>
                      <a:pt x="42617" y="38291"/>
                    </a:cubicBezTo>
                    <a:cubicBezTo>
                      <a:pt x="44332" y="35121"/>
                      <a:pt x="45207" y="31577"/>
                      <a:pt x="45159" y="27973"/>
                    </a:cubicBezTo>
                    <a:cubicBezTo>
                      <a:pt x="45229" y="24414"/>
                      <a:pt x="44352" y="20915"/>
                      <a:pt x="42617" y="17805"/>
                    </a:cubicBezTo>
                    <a:cubicBezTo>
                      <a:pt x="40914" y="14829"/>
                      <a:pt x="38363" y="12437"/>
                      <a:pt x="35290" y="10926"/>
                    </a:cubicBezTo>
                    <a:cubicBezTo>
                      <a:pt x="31879" y="9311"/>
                      <a:pt x="28147" y="8489"/>
                      <a:pt x="24374" y="8534"/>
                    </a:cubicBezTo>
                    <a:lnTo>
                      <a:pt x="10916" y="8534"/>
                    </a:lnTo>
                    <a:lnTo>
                      <a:pt x="10916" y="4741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A1A35625-3617-F753-8607-7D0B674190B3}"/>
                  </a:ext>
                </a:extLst>
              </p:cNvPr>
              <p:cNvSpPr/>
              <p:nvPr/>
            </p:nvSpPr>
            <p:spPr>
              <a:xfrm>
                <a:off x="2808149" y="3403576"/>
                <a:ext cx="50760" cy="57474"/>
              </a:xfrm>
              <a:custGeom>
                <a:avLst/>
                <a:gdLst>
                  <a:gd name="connsiteX0" fmla="*/ 7192 w 50760"/>
                  <a:gd name="connsiteY0" fmla="*/ 50393 h 57474"/>
                  <a:gd name="connsiteX1" fmla="*/ 15 w 50760"/>
                  <a:gd name="connsiteY1" fmla="*/ 32000 h 57474"/>
                  <a:gd name="connsiteX2" fmla="*/ 15 w 50760"/>
                  <a:gd name="connsiteY2" fmla="*/ 0 h 57474"/>
                  <a:gd name="connsiteX3" fmla="*/ 10482 w 50760"/>
                  <a:gd name="connsiteY3" fmla="*/ 0 h 57474"/>
                  <a:gd name="connsiteX4" fmla="*/ 10482 w 50760"/>
                  <a:gd name="connsiteY4" fmla="*/ 31552 h 57474"/>
                  <a:gd name="connsiteX5" fmla="*/ 25436 w 50760"/>
                  <a:gd name="connsiteY5" fmla="*/ 48299 h 57474"/>
                  <a:gd name="connsiteX6" fmla="*/ 40389 w 50760"/>
                  <a:gd name="connsiteY6" fmla="*/ 31552 h 57474"/>
                  <a:gd name="connsiteX7" fmla="*/ 40389 w 50760"/>
                  <a:gd name="connsiteY7" fmla="*/ 0 h 57474"/>
                  <a:gd name="connsiteX8" fmla="*/ 50707 w 50760"/>
                  <a:gd name="connsiteY8" fmla="*/ 0 h 57474"/>
                  <a:gd name="connsiteX9" fmla="*/ 50707 w 50760"/>
                  <a:gd name="connsiteY9" fmla="*/ 32000 h 57474"/>
                  <a:gd name="connsiteX10" fmla="*/ 44127 w 50760"/>
                  <a:gd name="connsiteY10" fmla="*/ 50842 h 57474"/>
                  <a:gd name="connsiteX11" fmla="*/ 25884 w 50760"/>
                  <a:gd name="connsiteY11" fmla="*/ 57421 h 57474"/>
                  <a:gd name="connsiteX12" fmla="*/ 7192 w 50760"/>
                  <a:gd name="connsiteY12" fmla="*/ 50393 h 57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760" h="57474">
                    <a:moveTo>
                      <a:pt x="7192" y="50393"/>
                    </a:moveTo>
                    <a:cubicBezTo>
                      <a:pt x="2375" y="45503"/>
                      <a:pt x="-221" y="38864"/>
                      <a:pt x="15" y="32000"/>
                    </a:cubicBezTo>
                    <a:lnTo>
                      <a:pt x="15" y="0"/>
                    </a:lnTo>
                    <a:lnTo>
                      <a:pt x="10482" y="0"/>
                    </a:lnTo>
                    <a:lnTo>
                      <a:pt x="10482" y="31552"/>
                    </a:lnTo>
                    <a:cubicBezTo>
                      <a:pt x="10482" y="42617"/>
                      <a:pt x="15267" y="48299"/>
                      <a:pt x="25436" y="48299"/>
                    </a:cubicBezTo>
                    <a:cubicBezTo>
                      <a:pt x="35604" y="48299"/>
                      <a:pt x="40389" y="42617"/>
                      <a:pt x="40389" y="31552"/>
                    </a:cubicBezTo>
                    <a:lnTo>
                      <a:pt x="40389" y="0"/>
                    </a:lnTo>
                    <a:lnTo>
                      <a:pt x="50707" y="0"/>
                    </a:lnTo>
                    <a:lnTo>
                      <a:pt x="50707" y="32000"/>
                    </a:lnTo>
                    <a:cubicBezTo>
                      <a:pt x="51156" y="38909"/>
                      <a:pt x="48782" y="45713"/>
                      <a:pt x="44127" y="50842"/>
                    </a:cubicBezTo>
                    <a:cubicBezTo>
                      <a:pt x="39228" y="55477"/>
                      <a:pt x="32616" y="57870"/>
                      <a:pt x="25884" y="57421"/>
                    </a:cubicBezTo>
                    <a:cubicBezTo>
                      <a:pt x="18933" y="57870"/>
                      <a:pt x="12123" y="55313"/>
                      <a:pt x="7192" y="50393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AA3123C0-2E56-1C00-C024-E9E657CE43BB}"/>
                  </a:ext>
                </a:extLst>
              </p:cNvPr>
              <p:cNvSpPr/>
              <p:nvPr/>
            </p:nvSpPr>
            <p:spPr>
              <a:xfrm>
                <a:off x="2943191" y="3402379"/>
                <a:ext cx="52338" cy="58314"/>
              </a:xfrm>
              <a:custGeom>
                <a:avLst/>
                <a:gdLst>
                  <a:gd name="connsiteX0" fmla="*/ 14806 w 52338"/>
                  <a:gd name="connsiteY0" fmla="*/ 54430 h 58314"/>
                  <a:gd name="connsiteX1" fmla="*/ 4039 w 52338"/>
                  <a:gd name="connsiteY1" fmla="*/ 44113 h 58314"/>
                  <a:gd name="connsiteX2" fmla="*/ 2 w 52338"/>
                  <a:gd name="connsiteY2" fmla="*/ 29159 h 58314"/>
                  <a:gd name="connsiteX3" fmla="*/ 14955 w 52338"/>
                  <a:gd name="connsiteY3" fmla="*/ 3738 h 58314"/>
                  <a:gd name="connsiteX4" fmla="*/ 29909 w 52338"/>
                  <a:gd name="connsiteY4" fmla="*/ 0 h 58314"/>
                  <a:gd name="connsiteX5" fmla="*/ 42619 w 52338"/>
                  <a:gd name="connsiteY5" fmla="*/ 2393 h 58314"/>
                  <a:gd name="connsiteX6" fmla="*/ 52339 w 52338"/>
                  <a:gd name="connsiteY6" fmla="*/ 9570 h 58314"/>
                  <a:gd name="connsiteX7" fmla="*/ 45460 w 52338"/>
                  <a:gd name="connsiteY7" fmla="*/ 15851 h 58314"/>
                  <a:gd name="connsiteX8" fmla="*/ 30507 w 52338"/>
                  <a:gd name="connsiteY8" fmla="*/ 9271 h 58314"/>
                  <a:gd name="connsiteX9" fmla="*/ 20039 w 52338"/>
                  <a:gd name="connsiteY9" fmla="*/ 11813 h 58314"/>
                  <a:gd name="connsiteX10" fmla="*/ 12862 w 52338"/>
                  <a:gd name="connsiteY10" fmla="*/ 18841 h 58314"/>
                  <a:gd name="connsiteX11" fmla="*/ 10170 w 52338"/>
                  <a:gd name="connsiteY11" fmla="*/ 29159 h 58314"/>
                  <a:gd name="connsiteX12" fmla="*/ 12862 w 52338"/>
                  <a:gd name="connsiteY12" fmla="*/ 39477 h 58314"/>
                  <a:gd name="connsiteX13" fmla="*/ 20039 w 52338"/>
                  <a:gd name="connsiteY13" fmla="*/ 46655 h 58314"/>
                  <a:gd name="connsiteX14" fmla="*/ 30507 w 52338"/>
                  <a:gd name="connsiteY14" fmla="*/ 49197 h 58314"/>
                  <a:gd name="connsiteX15" fmla="*/ 45460 w 52338"/>
                  <a:gd name="connsiteY15" fmla="*/ 42468 h 58314"/>
                  <a:gd name="connsiteX16" fmla="*/ 52339 w 52338"/>
                  <a:gd name="connsiteY16" fmla="*/ 48898 h 58314"/>
                  <a:gd name="connsiteX17" fmla="*/ 42469 w 52338"/>
                  <a:gd name="connsiteY17" fmla="*/ 55926 h 58314"/>
                  <a:gd name="connsiteX18" fmla="*/ 14207 w 52338"/>
                  <a:gd name="connsiteY18" fmla="*/ 54580 h 5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2338" h="58314">
                    <a:moveTo>
                      <a:pt x="14806" y="54430"/>
                    </a:moveTo>
                    <a:cubicBezTo>
                      <a:pt x="10336" y="52053"/>
                      <a:pt x="6610" y="48479"/>
                      <a:pt x="4039" y="44113"/>
                    </a:cubicBezTo>
                    <a:cubicBezTo>
                      <a:pt x="1356" y="39582"/>
                      <a:pt x="-40" y="34423"/>
                      <a:pt x="2" y="29159"/>
                    </a:cubicBezTo>
                    <a:cubicBezTo>
                      <a:pt x="-113" y="18572"/>
                      <a:pt x="5642" y="8778"/>
                      <a:pt x="14955" y="3738"/>
                    </a:cubicBezTo>
                    <a:cubicBezTo>
                      <a:pt x="19577" y="1331"/>
                      <a:pt x="24700" y="60"/>
                      <a:pt x="29909" y="0"/>
                    </a:cubicBezTo>
                    <a:cubicBezTo>
                      <a:pt x="34257" y="0"/>
                      <a:pt x="38568" y="807"/>
                      <a:pt x="42619" y="2393"/>
                    </a:cubicBezTo>
                    <a:cubicBezTo>
                      <a:pt x="46359" y="4023"/>
                      <a:pt x="49681" y="6475"/>
                      <a:pt x="52339" y="9570"/>
                    </a:cubicBezTo>
                    <a:lnTo>
                      <a:pt x="45460" y="15851"/>
                    </a:lnTo>
                    <a:cubicBezTo>
                      <a:pt x="41648" y="11619"/>
                      <a:pt x="36204" y="9226"/>
                      <a:pt x="30507" y="9271"/>
                    </a:cubicBezTo>
                    <a:cubicBezTo>
                      <a:pt x="26860" y="9226"/>
                      <a:pt x="23259" y="10094"/>
                      <a:pt x="20039" y="11813"/>
                    </a:cubicBezTo>
                    <a:cubicBezTo>
                      <a:pt x="17001" y="13383"/>
                      <a:pt x="14502" y="15836"/>
                      <a:pt x="12862" y="18841"/>
                    </a:cubicBezTo>
                    <a:cubicBezTo>
                      <a:pt x="11069" y="21982"/>
                      <a:pt x="10140" y="25540"/>
                      <a:pt x="10170" y="29159"/>
                    </a:cubicBezTo>
                    <a:cubicBezTo>
                      <a:pt x="10095" y="32778"/>
                      <a:pt x="11027" y="36352"/>
                      <a:pt x="12862" y="39477"/>
                    </a:cubicBezTo>
                    <a:cubicBezTo>
                      <a:pt x="14533" y="42498"/>
                      <a:pt x="17020" y="44980"/>
                      <a:pt x="20039" y="46655"/>
                    </a:cubicBezTo>
                    <a:cubicBezTo>
                      <a:pt x="23259" y="48374"/>
                      <a:pt x="26860" y="49242"/>
                      <a:pt x="30507" y="49197"/>
                    </a:cubicBezTo>
                    <a:cubicBezTo>
                      <a:pt x="36235" y="49242"/>
                      <a:pt x="41699" y="46789"/>
                      <a:pt x="45460" y="42468"/>
                    </a:cubicBezTo>
                    <a:lnTo>
                      <a:pt x="52339" y="48898"/>
                    </a:lnTo>
                    <a:cubicBezTo>
                      <a:pt x="49647" y="51978"/>
                      <a:pt x="46266" y="54386"/>
                      <a:pt x="42469" y="55926"/>
                    </a:cubicBezTo>
                    <a:cubicBezTo>
                      <a:pt x="33288" y="59530"/>
                      <a:pt x="23005" y="59036"/>
                      <a:pt x="14207" y="54580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EDC799D3-07CF-F983-5E02-A0F470C83359}"/>
                  </a:ext>
                </a:extLst>
              </p:cNvPr>
              <p:cNvSpPr/>
              <p:nvPr/>
            </p:nvSpPr>
            <p:spPr>
              <a:xfrm>
                <a:off x="3027745" y="3402234"/>
                <a:ext cx="61246" cy="58161"/>
              </a:xfrm>
              <a:custGeom>
                <a:avLst/>
                <a:gdLst>
                  <a:gd name="connsiteX0" fmla="*/ 15038 w 61246"/>
                  <a:gd name="connsiteY0" fmla="*/ 54576 h 58161"/>
                  <a:gd name="connsiteX1" fmla="*/ 3594 w 61246"/>
                  <a:gd name="connsiteY1" fmla="*/ 15174 h 58161"/>
                  <a:gd name="connsiteX2" fmla="*/ 15038 w 61246"/>
                  <a:gd name="connsiteY2" fmla="*/ 3735 h 58161"/>
                  <a:gd name="connsiteX3" fmla="*/ 46291 w 61246"/>
                  <a:gd name="connsiteY3" fmla="*/ 3735 h 58161"/>
                  <a:gd name="connsiteX4" fmla="*/ 57207 w 61246"/>
                  <a:gd name="connsiteY4" fmla="*/ 14202 h 58161"/>
                  <a:gd name="connsiteX5" fmla="*/ 61244 w 61246"/>
                  <a:gd name="connsiteY5" fmla="*/ 29156 h 58161"/>
                  <a:gd name="connsiteX6" fmla="*/ 57207 w 61246"/>
                  <a:gd name="connsiteY6" fmla="*/ 44109 h 58161"/>
                  <a:gd name="connsiteX7" fmla="*/ 46291 w 61246"/>
                  <a:gd name="connsiteY7" fmla="*/ 54427 h 58161"/>
                  <a:gd name="connsiteX8" fmla="*/ 15038 w 61246"/>
                  <a:gd name="connsiteY8" fmla="*/ 54427 h 58161"/>
                  <a:gd name="connsiteX9" fmla="*/ 40908 w 61246"/>
                  <a:gd name="connsiteY9" fmla="*/ 46501 h 58161"/>
                  <a:gd name="connsiteX10" fmla="*/ 48085 w 61246"/>
                  <a:gd name="connsiteY10" fmla="*/ 39324 h 58161"/>
                  <a:gd name="connsiteX11" fmla="*/ 50627 w 61246"/>
                  <a:gd name="connsiteY11" fmla="*/ 29006 h 58161"/>
                  <a:gd name="connsiteX12" fmla="*/ 48085 w 61246"/>
                  <a:gd name="connsiteY12" fmla="*/ 18838 h 58161"/>
                  <a:gd name="connsiteX13" fmla="*/ 40908 w 61246"/>
                  <a:gd name="connsiteY13" fmla="*/ 11660 h 58161"/>
                  <a:gd name="connsiteX14" fmla="*/ 30739 w 61246"/>
                  <a:gd name="connsiteY14" fmla="*/ 9118 h 58161"/>
                  <a:gd name="connsiteX15" fmla="*/ 20421 w 61246"/>
                  <a:gd name="connsiteY15" fmla="*/ 11660 h 58161"/>
                  <a:gd name="connsiteX16" fmla="*/ 13393 w 61246"/>
                  <a:gd name="connsiteY16" fmla="*/ 18838 h 58161"/>
                  <a:gd name="connsiteX17" fmla="*/ 10702 w 61246"/>
                  <a:gd name="connsiteY17" fmla="*/ 29006 h 58161"/>
                  <a:gd name="connsiteX18" fmla="*/ 13393 w 61246"/>
                  <a:gd name="connsiteY18" fmla="*/ 39324 h 58161"/>
                  <a:gd name="connsiteX19" fmla="*/ 20421 w 61246"/>
                  <a:gd name="connsiteY19" fmla="*/ 46501 h 58161"/>
                  <a:gd name="connsiteX20" fmla="*/ 30739 w 61246"/>
                  <a:gd name="connsiteY20" fmla="*/ 49044 h 58161"/>
                  <a:gd name="connsiteX21" fmla="*/ 40908 w 61246"/>
                  <a:gd name="connsiteY21" fmla="*/ 46501 h 58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1246" h="58161">
                    <a:moveTo>
                      <a:pt x="15038" y="54576"/>
                    </a:moveTo>
                    <a:cubicBezTo>
                      <a:pt x="998" y="46860"/>
                      <a:pt x="-4125" y="29215"/>
                      <a:pt x="3594" y="15174"/>
                    </a:cubicBezTo>
                    <a:cubicBezTo>
                      <a:pt x="6246" y="10359"/>
                      <a:pt x="10214" y="6381"/>
                      <a:pt x="15038" y="3735"/>
                    </a:cubicBezTo>
                    <a:cubicBezTo>
                      <a:pt x="24860" y="-1245"/>
                      <a:pt x="36469" y="-1245"/>
                      <a:pt x="46291" y="3735"/>
                    </a:cubicBezTo>
                    <a:cubicBezTo>
                      <a:pt x="50846" y="6127"/>
                      <a:pt x="54630" y="9746"/>
                      <a:pt x="57207" y="14202"/>
                    </a:cubicBezTo>
                    <a:cubicBezTo>
                      <a:pt x="59912" y="18718"/>
                      <a:pt x="61309" y="23892"/>
                      <a:pt x="61244" y="29156"/>
                    </a:cubicBezTo>
                    <a:cubicBezTo>
                      <a:pt x="61286" y="34419"/>
                      <a:pt x="59890" y="39578"/>
                      <a:pt x="57207" y="44109"/>
                    </a:cubicBezTo>
                    <a:cubicBezTo>
                      <a:pt x="54577" y="48475"/>
                      <a:pt x="50802" y="52049"/>
                      <a:pt x="46291" y="54427"/>
                    </a:cubicBezTo>
                    <a:cubicBezTo>
                      <a:pt x="36469" y="59406"/>
                      <a:pt x="24860" y="59406"/>
                      <a:pt x="15038" y="54427"/>
                    </a:cubicBezTo>
                    <a:moveTo>
                      <a:pt x="40908" y="46501"/>
                    </a:moveTo>
                    <a:cubicBezTo>
                      <a:pt x="43861" y="44737"/>
                      <a:pt x="46328" y="42270"/>
                      <a:pt x="48085" y="39324"/>
                    </a:cubicBezTo>
                    <a:cubicBezTo>
                      <a:pt x="49781" y="36154"/>
                      <a:pt x="50656" y="32610"/>
                      <a:pt x="50627" y="29006"/>
                    </a:cubicBezTo>
                    <a:cubicBezTo>
                      <a:pt x="50656" y="25462"/>
                      <a:pt x="49781" y="21963"/>
                      <a:pt x="48085" y="18838"/>
                    </a:cubicBezTo>
                    <a:cubicBezTo>
                      <a:pt x="46413" y="15817"/>
                      <a:pt x="43927" y="13335"/>
                      <a:pt x="40908" y="11660"/>
                    </a:cubicBezTo>
                    <a:cubicBezTo>
                      <a:pt x="37788" y="9970"/>
                      <a:pt x="34289" y="9088"/>
                      <a:pt x="30739" y="9118"/>
                    </a:cubicBezTo>
                    <a:cubicBezTo>
                      <a:pt x="27142" y="9088"/>
                      <a:pt x="23595" y="9970"/>
                      <a:pt x="20421" y="11660"/>
                    </a:cubicBezTo>
                    <a:cubicBezTo>
                      <a:pt x="17417" y="13305"/>
                      <a:pt x="14969" y="15802"/>
                      <a:pt x="13393" y="18838"/>
                    </a:cubicBezTo>
                    <a:cubicBezTo>
                      <a:pt x="11580" y="21918"/>
                      <a:pt x="10648" y="25432"/>
                      <a:pt x="10702" y="29006"/>
                    </a:cubicBezTo>
                    <a:cubicBezTo>
                      <a:pt x="10651" y="32625"/>
                      <a:pt x="11581" y="36184"/>
                      <a:pt x="13393" y="39324"/>
                    </a:cubicBezTo>
                    <a:cubicBezTo>
                      <a:pt x="15049" y="42300"/>
                      <a:pt x="17477" y="44782"/>
                      <a:pt x="20421" y="46501"/>
                    </a:cubicBezTo>
                    <a:cubicBezTo>
                      <a:pt x="23595" y="48191"/>
                      <a:pt x="27142" y="49073"/>
                      <a:pt x="30739" y="49044"/>
                    </a:cubicBezTo>
                    <a:cubicBezTo>
                      <a:pt x="34289" y="49073"/>
                      <a:pt x="37788" y="48191"/>
                      <a:pt x="40908" y="4650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B8319B35-1216-A917-5E93-42A08AA86409}"/>
                  </a:ext>
                </a:extLst>
              </p:cNvPr>
              <p:cNvSpPr/>
              <p:nvPr/>
            </p:nvSpPr>
            <p:spPr>
              <a:xfrm>
                <a:off x="3127120" y="3403127"/>
                <a:ext cx="62056" cy="56673"/>
              </a:xfrm>
              <a:custGeom>
                <a:avLst/>
                <a:gdLst>
                  <a:gd name="connsiteX0" fmla="*/ 52038 w 62056"/>
                  <a:gd name="connsiteY0" fmla="*/ 56673 h 56673"/>
                  <a:gd name="connsiteX1" fmla="*/ 52038 w 62056"/>
                  <a:gd name="connsiteY1" fmla="*/ 19140 h 56673"/>
                  <a:gd name="connsiteX2" fmla="*/ 33346 w 62056"/>
                  <a:gd name="connsiteY2" fmla="*/ 50244 h 56673"/>
                  <a:gd name="connsiteX3" fmla="*/ 28711 w 62056"/>
                  <a:gd name="connsiteY3" fmla="*/ 50244 h 56673"/>
                  <a:gd name="connsiteX4" fmla="*/ 10019 w 62056"/>
                  <a:gd name="connsiteY4" fmla="*/ 19589 h 56673"/>
                  <a:gd name="connsiteX5" fmla="*/ 10019 w 62056"/>
                  <a:gd name="connsiteY5" fmla="*/ 56673 h 56673"/>
                  <a:gd name="connsiteX6" fmla="*/ 0 w 62056"/>
                  <a:gd name="connsiteY6" fmla="*/ 56673 h 56673"/>
                  <a:gd name="connsiteX7" fmla="*/ 0 w 62056"/>
                  <a:gd name="connsiteY7" fmla="*/ 0 h 56673"/>
                  <a:gd name="connsiteX8" fmla="*/ 8673 w 62056"/>
                  <a:gd name="connsiteY8" fmla="*/ 0 h 56673"/>
                  <a:gd name="connsiteX9" fmla="*/ 31103 w 62056"/>
                  <a:gd name="connsiteY9" fmla="*/ 37533 h 56673"/>
                  <a:gd name="connsiteX10" fmla="*/ 53234 w 62056"/>
                  <a:gd name="connsiteY10" fmla="*/ 0 h 56673"/>
                  <a:gd name="connsiteX11" fmla="*/ 62057 w 62056"/>
                  <a:gd name="connsiteY11" fmla="*/ 0 h 56673"/>
                  <a:gd name="connsiteX12" fmla="*/ 62057 w 62056"/>
                  <a:gd name="connsiteY12" fmla="*/ 56673 h 56673"/>
                  <a:gd name="connsiteX13" fmla="*/ 52038 w 62056"/>
                  <a:gd name="connsiteY13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056" h="56673">
                    <a:moveTo>
                      <a:pt x="52038" y="56673"/>
                    </a:moveTo>
                    <a:lnTo>
                      <a:pt x="52038" y="19140"/>
                    </a:lnTo>
                    <a:lnTo>
                      <a:pt x="33346" y="50244"/>
                    </a:lnTo>
                    <a:lnTo>
                      <a:pt x="28711" y="50244"/>
                    </a:lnTo>
                    <a:lnTo>
                      <a:pt x="10019" y="19589"/>
                    </a:lnTo>
                    <a:lnTo>
                      <a:pt x="10019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103" y="37533"/>
                    </a:lnTo>
                    <a:lnTo>
                      <a:pt x="53234" y="0"/>
                    </a:lnTo>
                    <a:lnTo>
                      <a:pt x="62057" y="0"/>
                    </a:lnTo>
                    <a:lnTo>
                      <a:pt x="62057" y="56673"/>
                    </a:lnTo>
                    <a:lnTo>
                      <a:pt x="52038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4C9FD059-A901-1656-92D8-E47AF5528270}"/>
                  </a:ext>
                </a:extLst>
              </p:cNvPr>
              <p:cNvSpPr/>
              <p:nvPr/>
            </p:nvSpPr>
            <p:spPr>
              <a:xfrm>
                <a:off x="3231495" y="3403127"/>
                <a:ext cx="62056" cy="56673"/>
              </a:xfrm>
              <a:custGeom>
                <a:avLst/>
                <a:gdLst>
                  <a:gd name="connsiteX0" fmla="*/ 52038 w 62056"/>
                  <a:gd name="connsiteY0" fmla="*/ 56673 h 56673"/>
                  <a:gd name="connsiteX1" fmla="*/ 52038 w 62056"/>
                  <a:gd name="connsiteY1" fmla="*/ 19140 h 56673"/>
                  <a:gd name="connsiteX2" fmla="*/ 33346 w 62056"/>
                  <a:gd name="connsiteY2" fmla="*/ 50244 h 56673"/>
                  <a:gd name="connsiteX3" fmla="*/ 28561 w 62056"/>
                  <a:gd name="connsiteY3" fmla="*/ 50244 h 56673"/>
                  <a:gd name="connsiteX4" fmla="*/ 10019 w 62056"/>
                  <a:gd name="connsiteY4" fmla="*/ 19589 h 56673"/>
                  <a:gd name="connsiteX5" fmla="*/ 10019 w 62056"/>
                  <a:gd name="connsiteY5" fmla="*/ 56673 h 56673"/>
                  <a:gd name="connsiteX6" fmla="*/ 0 w 62056"/>
                  <a:gd name="connsiteY6" fmla="*/ 56673 h 56673"/>
                  <a:gd name="connsiteX7" fmla="*/ 0 w 62056"/>
                  <a:gd name="connsiteY7" fmla="*/ 0 h 56673"/>
                  <a:gd name="connsiteX8" fmla="*/ 8673 w 62056"/>
                  <a:gd name="connsiteY8" fmla="*/ 0 h 56673"/>
                  <a:gd name="connsiteX9" fmla="*/ 31103 w 62056"/>
                  <a:gd name="connsiteY9" fmla="*/ 37533 h 56673"/>
                  <a:gd name="connsiteX10" fmla="*/ 53234 w 62056"/>
                  <a:gd name="connsiteY10" fmla="*/ 0 h 56673"/>
                  <a:gd name="connsiteX11" fmla="*/ 61907 w 62056"/>
                  <a:gd name="connsiteY11" fmla="*/ 0 h 56673"/>
                  <a:gd name="connsiteX12" fmla="*/ 62057 w 62056"/>
                  <a:gd name="connsiteY12" fmla="*/ 56673 h 56673"/>
                  <a:gd name="connsiteX13" fmla="*/ 52038 w 62056"/>
                  <a:gd name="connsiteY13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056" h="56673">
                    <a:moveTo>
                      <a:pt x="52038" y="56673"/>
                    </a:moveTo>
                    <a:lnTo>
                      <a:pt x="52038" y="19140"/>
                    </a:lnTo>
                    <a:lnTo>
                      <a:pt x="33346" y="50244"/>
                    </a:lnTo>
                    <a:lnTo>
                      <a:pt x="28561" y="50244"/>
                    </a:lnTo>
                    <a:lnTo>
                      <a:pt x="10019" y="19589"/>
                    </a:lnTo>
                    <a:lnTo>
                      <a:pt x="10019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103" y="37533"/>
                    </a:lnTo>
                    <a:lnTo>
                      <a:pt x="53234" y="0"/>
                    </a:lnTo>
                    <a:lnTo>
                      <a:pt x="61907" y="0"/>
                    </a:lnTo>
                    <a:lnTo>
                      <a:pt x="62057" y="56673"/>
                    </a:lnTo>
                    <a:lnTo>
                      <a:pt x="52038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F9AE8388-D0A6-85AF-BA10-004E1BAE13A6}"/>
                  </a:ext>
                </a:extLst>
              </p:cNvPr>
              <p:cNvSpPr/>
              <p:nvPr/>
            </p:nvSpPr>
            <p:spPr>
              <a:xfrm>
                <a:off x="3335720" y="3402978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5C9829E7-89ED-2597-3A08-C64DEA6865C9}"/>
                  </a:ext>
                </a:extLst>
              </p:cNvPr>
              <p:cNvSpPr/>
              <p:nvPr/>
            </p:nvSpPr>
            <p:spPr>
              <a:xfrm>
                <a:off x="3383721" y="3402218"/>
                <a:ext cx="45333" cy="58342"/>
              </a:xfrm>
              <a:custGeom>
                <a:avLst/>
                <a:gdLst>
                  <a:gd name="connsiteX0" fmla="*/ 9720 w 45333"/>
                  <a:gd name="connsiteY0" fmla="*/ 56536 h 58342"/>
                  <a:gd name="connsiteX1" fmla="*/ 0 w 45333"/>
                  <a:gd name="connsiteY1" fmla="*/ 51602 h 58342"/>
                  <a:gd name="connsiteX2" fmla="*/ 3738 w 45333"/>
                  <a:gd name="connsiteY2" fmla="*/ 43377 h 58342"/>
                  <a:gd name="connsiteX3" fmla="*/ 12262 w 45333"/>
                  <a:gd name="connsiteY3" fmla="*/ 47863 h 58342"/>
                  <a:gd name="connsiteX4" fmla="*/ 22430 w 45333"/>
                  <a:gd name="connsiteY4" fmla="*/ 49658 h 58342"/>
                  <a:gd name="connsiteX5" fmla="*/ 31851 w 45333"/>
                  <a:gd name="connsiteY5" fmla="*/ 47564 h 58342"/>
                  <a:gd name="connsiteX6" fmla="*/ 34991 w 45333"/>
                  <a:gd name="connsiteY6" fmla="*/ 42181 h 58342"/>
                  <a:gd name="connsiteX7" fmla="*/ 33197 w 45333"/>
                  <a:gd name="connsiteY7" fmla="*/ 38293 h 58342"/>
                  <a:gd name="connsiteX8" fmla="*/ 28860 w 45333"/>
                  <a:gd name="connsiteY8" fmla="*/ 35751 h 58342"/>
                  <a:gd name="connsiteX9" fmla="*/ 21533 w 45333"/>
                  <a:gd name="connsiteY9" fmla="*/ 33807 h 58342"/>
                  <a:gd name="connsiteX10" fmla="*/ 11066 w 45333"/>
                  <a:gd name="connsiteY10" fmla="*/ 30667 h 58342"/>
                  <a:gd name="connsiteX11" fmla="*/ 4187 w 45333"/>
                  <a:gd name="connsiteY11" fmla="*/ 25882 h 58342"/>
                  <a:gd name="connsiteX12" fmla="*/ 1196 w 45333"/>
                  <a:gd name="connsiteY12" fmla="*/ 16910 h 58342"/>
                  <a:gd name="connsiteX13" fmla="*/ 3738 w 45333"/>
                  <a:gd name="connsiteY13" fmla="*/ 8386 h 58342"/>
                  <a:gd name="connsiteX14" fmla="*/ 11514 w 45333"/>
                  <a:gd name="connsiteY14" fmla="*/ 2255 h 58342"/>
                  <a:gd name="connsiteX15" fmla="*/ 24075 w 45333"/>
                  <a:gd name="connsiteY15" fmla="*/ 12 h 58342"/>
                  <a:gd name="connsiteX16" fmla="*/ 34243 w 45333"/>
                  <a:gd name="connsiteY16" fmla="*/ 1358 h 58342"/>
                  <a:gd name="connsiteX17" fmla="*/ 42916 w 45333"/>
                  <a:gd name="connsiteY17" fmla="*/ 5096 h 58342"/>
                  <a:gd name="connsiteX18" fmla="*/ 39627 w 45333"/>
                  <a:gd name="connsiteY18" fmla="*/ 13171 h 58342"/>
                  <a:gd name="connsiteX19" fmla="*/ 31851 w 45333"/>
                  <a:gd name="connsiteY19" fmla="*/ 9881 h 58342"/>
                  <a:gd name="connsiteX20" fmla="*/ 24075 w 45333"/>
                  <a:gd name="connsiteY20" fmla="*/ 8835 h 58342"/>
                  <a:gd name="connsiteX21" fmla="*/ 14804 w 45333"/>
                  <a:gd name="connsiteY21" fmla="*/ 10928 h 58342"/>
                  <a:gd name="connsiteX22" fmla="*/ 11664 w 45333"/>
                  <a:gd name="connsiteY22" fmla="*/ 16461 h 58342"/>
                  <a:gd name="connsiteX23" fmla="*/ 13458 w 45333"/>
                  <a:gd name="connsiteY23" fmla="*/ 20498 h 58342"/>
                  <a:gd name="connsiteX24" fmla="*/ 17795 w 45333"/>
                  <a:gd name="connsiteY24" fmla="*/ 22891 h 58342"/>
                  <a:gd name="connsiteX25" fmla="*/ 25122 w 45333"/>
                  <a:gd name="connsiteY25" fmla="*/ 24835 h 58342"/>
                  <a:gd name="connsiteX26" fmla="*/ 35589 w 45333"/>
                  <a:gd name="connsiteY26" fmla="*/ 27975 h 58342"/>
                  <a:gd name="connsiteX27" fmla="*/ 42468 w 45333"/>
                  <a:gd name="connsiteY27" fmla="*/ 32760 h 58342"/>
                  <a:gd name="connsiteX28" fmla="*/ 45309 w 45333"/>
                  <a:gd name="connsiteY28" fmla="*/ 41583 h 58342"/>
                  <a:gd name="connsiteX29" fmla="*/ 42767 w 45333"/>
                  <a:gd name="connsiteY29" fmla="*/ 50106 h 58342"/>
                  <a:gd name="connsiteX30" fmla="*/ 34991 w 45333"/>
                  <a:gd name="connsiteY30" fmla="*/ 56088 h 58342"/>
                  <a:gd name="connsiteX31" fmla="*/ 22430 w 45333"/>
                  <a:gd name="connsiteY31" fmla="*/ 58331 h 58342"/>
                  <a:gd name="connsiteX32" fmla="*/ 9720 w 45333"/>
                  <a:gd name="connsiteY32" fmla="*/ 56536 h 5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3" h="58342">
                    <a:moveTo>
                      <a:pt x="9720" y="56536"/>
                    </a:moveTo>
                    <a:cubicBezTo>
                      <a:pt x="6167" y="55594"/>
                      <a:pt x="2853" y="53919"/>
                      <a:pt x="0" y="51602"/>
                    </a:cubicBezTo>
                    <a:lnTo>
                      <a:pt x="3738" y="43377"/>
                    </a:lnTo>
                    <a:cubicBezTo>
                      <a:pt x="6304" y="45351"/>
                      <a:pt x="9187" y="46861"/>
                      <a:pt x="12262" y="47863"/>
                    </a:cubicBezTo>
                    <a:cubicBezTo>
                      <a:pt x="15522" y="49045"/>
                      <a:pt x="18962" y="49658"/>
                      <a:pt x="22430" y="49658"/>
                    </a:cubicBezTo>
                    <a:cubicBezTo>
                      <a:pt x="25703" y="49852"/>
                      <a:pt x="28966" y="49119"/>
                      <a:pt x="31851" y="47564"/>
                    </a:cubicBezTo>
                    <a:cubicBezTo>
                      <a:pt x="33799" y="46472"/>
                      <a:pt x="35003" y="44409"/>
                      <a:pt x="34991" y="42181"/>
                    </a:cubicBezTo>
                    <a:cubicBezTo>
                      <a:pt x="34994" y="40685"/>
                      <a:pt x="34338" y="39265"/>
                      <a:pt x="33197" y="38293"/>
                    </a:cubicBezTo>
                    <a:cubicBezTo>
                      <a:pt x="31942" y="37156"/>
                      <a:pt x="30466" y="36289"/>
                      <a:pt x="28860" y="35751"/>
                    </a:cubicBezTo>
                    <a:lnTo>
                      <a:pt x="21533" y="33807"/>
                    </a:lnTo>
                    <a:cubicBezTo>
                      <a:pt x="17979" y="32984"/>
                      <a:pt x="14482" y="31938"/>
                      <a:pt x="11066" y="30667"/>
                    </a:cubicBezTo>
                    <a:cubicBezTo>
                      <a:pt x="8416" y="29665"/>
                      <a:pt x="6055" y="28020"/>
                      <a:pt x="4187" y="25882"/>
                    </a:cubicBezTo>
                    <a:cubicBezTo>
                      <a:pt x="2125" y="23355"/>
                      <a:pt x="1062" y="20169"/>
                      <a:pt x="1196" y="16910"/>
                    </a:cubicBezTo>
                    <a:cubicBezTo>
                      <a:pt x="1159" y="13874"/>
                      <a:pt x="2046" y="10898"/>
                      <a:pt x="3738" y="8386"/>
                    </a:cubicBezTo>
                    <a:cubicBezTo>
                      <a:pt x="5709" y="5665"/>
                      <a:pt x="8402" y="3541"/>
                      <a:pt x="11514" y="2255"/>
                    </a:cubicBezTo>
                    <a:cubicBezTo>
                      <a:pt x="15504" y="655"/>
                      <a:pt x="19779" y="-107"/>
                      <a:pt x="24075" y="12"/>
                    </a:cubicBezTo>
                    <a:cubicBezTo>
                      <a:pt x="27510" y="12"/>
                      <a:pt x="30928" y="461"/>
                      <a:pt x="34243" y="1358"/>
                    </a:cubicBezTo>
                    <a:cubicBezTo>
                      <a:pt x="37331" y="2091"/>
                      <a:pt x="40267" y="3347"/>
                      <a:pt x="42916" y="5096"/>
                    </a:cubicBezTo>
                    <a:lnTo>
                      <a:pt x="39627" y="13171"/>
                    </a:lnTo>
                    <a:cubicBezTo>
                      <a:pt x="37174" y="11766"/>
                      <a:pt x="34563" y="10674"/>
                      <a:pt x="31851" y="9881"/>
                    </a:cubicBezTo>
                    <a:cubicBezTo>
                      <a:pt x="29319" y="9179"/>
                      <a:pt x="26702" y="8820"/>
                      <a:pt x="24075" y="8835"/>
                    </a:cubicBezTo>
                    <a:cubicBezTo>
                      <a:pt x="20839" y="8506"/>
                      <a:pt x="17584" y="9238"/>
                      <a:pt x="14804" y="10928"/>
                    </a:cubicBezTo>
                    <a:cubicBezTo>
                      <a:pt x="12854" y="12095"/>
                      <a:pt x="11661" y="14188"/>
                      <a:pt x="11664" y="16461"/>
                    </a:cubicBezTo>
                    <a:cubicBezTo>
                      <a:pt x="11616" y="18016"/>
                      <a:pt x="12275" y="19496"/>
                      <a:pt x="13458" y="20498"/>
                    </a:cubicBezTo>
                    <a:cubicBezTo>
                      <a:pt x="14743" y="21560"/>
                      <a:pt x="16214" y="22368"/>
                      <a:pt x="17795" y="22891"/>
                    </a:cubicBezTo>
                    <a:lnTo>
                      <a:pt x="25122" y="24835"/>
                    </a:lnTo>
                    <a:cubicBezTo>
                      <a:pt x="28670" y="25672"/>
                      <a:pt x="32165" y="26719"/>
                      <a:pt x="35589" y="27975"/>
                    </a:cubicBezTo>
                    <a:cubicBezTo>
                      <a:pt x="38219" y="29022"/>
                      <a:pt x="40573" y="30652"/>
                      <a:pt x="42468" y="32760"/>
                    </a:cubicBezTo>
                    <a:cubicBezTo>
                      <a:pt x="44491" y="35242"/>
                      <a:pt x="45506" y="38383"/>
                      <a:pt x="45309" y="41583"/>
                    </a:cubicBezTo>
                    <a:cubicBezTo>
                      <a:pt x="45346" y="44618"/>
                      <a:pt x="44460" y="47594"/>
                      <a:pt x="42767" y="50106"/>
                    </a:cubicBezTo>
                    <a:cubicBezTo>
                      <a:pt x="40817" y="52813"/>
                      <a:pt x="38113" y="54891"/>
                      <a:pt x="34991" y="56088"/>
                    </a:cubicBezTo>
                    <a:cubicBezTo>
                      <a:pt x="31001" y="57688"/>
                      <a:pt x="26726" y="58450"/>
                      <a:pt x="22430" y="58331"/>
                    </a:cubicBezTo>
                    <a:cubicBezTo>
                      <a:pt x="18130" y="58345"/>
                      <a:pt x="13848" y="57747"/>
                      <a:pt x="9720" y="5653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CD54A688-D9A5-4262-A954-98C570C1F4B6}"/>
                  </a:ext>
                </a:extLst>
              </p:cNvPr>
              <p:cNvSpPr/>
              <p:nvPr/>
            </p:nvSpPr>
            <p:spPr>
              <a:xfrm>
                <a:off x="3461628" y="3402218"/>
                <a:ext cx="45333" cy="58342"/>
              </a:xfrm>
              <a:custGeom>
                <a:avLst/>
                <a:gdLst>
                  <a:gd name="connsiteX0" fmla="*/ 9720 w 45333"/>
                  <a:gd name="connsiteY0" fmla="*/ 56536 h 58342"/>
                  <a:gd name="connsiteX1" fmla="*/ 0 w 45333"/>
                  <a:gd name="connsiteY1" fmla="*/ 51602 h 58342"/>
                  <a:gd name="connsiteX2" fmla="*/ 3738 w 45333"/>
                  <a:gd name="connsiteY2" fmla="*/ 43377 h 58342"/>
                  <a:gd name="connsiteX3" fmla="*/ 12262 w 45333"/>
                  <a:gd name="connsiteY3" fmla="*/ 47863 h 58342"/>
                  <a:gd name="connsiteX4" fmla="*/ 22430 w 45333"/>
                  <a:gd name="connsiteY4" fmla="*/ 49658 h 58342"/>
                  <a:gd name="connsiteX5" fmla="*/ 31851 w 45333"/>
                  <a:gd name="connsiteY5" fmla="*/ 47564 h 58342"/>
                  <a:gd name="connsiteX6" fmla="*/ 34991 w 45333"/>
                  <a:gd name="connsiteY6" fmla="*/ 42181 h 58342"/>
                  <a:gd name="connsiteX7" fmla="*/ 33197 w 45333"/>
                  <a:gd name="connsiteY7" fmla="*/ 38293 h 58342"/>
                  <a:gd name="connsiteX8" fmla="*/ 28860 w 45333"/>
                  <a:gd name="connsiteY8" fmla="*/ 35751 h 58342"/>
                  <a:gd name="connsiteX9" fmla="*/ 21533 w 45333"/>
                  <a:gd name="connsiteY9" fmla="*/ 33807 h 58342"/>
                  <a:gd name="connsiteX10" fmla="*/ 11065 w 45333"/>
                  <a:gd name="connsiteY10" fmla="*/ 30667 h 58342"/>
                  <a:gd name="connsiteX11" fmla="*/ 4187 w 45333"/>
                  <a:gd name="connsiteY11" fmla="*/ 25882 h 58342"/>
                  <a:gd name="connsiteX12" fmla="*/ 1196 w 45333"/>
                  <a:gd name="connsiteY12" fmla="*/ 16910 h 58342"/>
                  <a:gd name="connsiteX13" fmla="*/ 3738 w 45333"/>
                  <a:gd name="connsiteY13" fmla="*/ 8386 h 58342"/>
                  <a:gd name="connsiteX14" fmla="*/ 11514 w 45333"/>
                  <a:gd name="connsiteY14" fmla="*/ 2255 h 58342"/>
                  <a:gd name="connsiteX15" fmla="*/ 24075 w 45333"/>
                  <a:gd name="connsiteY15" fmla="*/ 12 h 58342"/>
                  <a:gd name="connsiteX16" fmla="*/ 34243 w 45333"/>
                  <a:gd name="connsiteY16" fmla="*/ 1358 h 58342"/>
                  <a:gd name="connsiteX17" fmla="*/ 42916 w 45333"/>
                  <a:gd name="connsiteY17" fmla="*/ 5096 h 58342"/>
                  <a:gd name="connsiteX18" fmla="*/ 39627 w 45333"/>
                  <a:gd name="connsiteY18" fmla="*/ 13171 h 58342"/>
                  <a:gd name="connsiteX19" fmla="*/ 31851 w 45333"/>
                  <a:gd name="connsiteY19" fmla="*/ 9881 h 58342"/>
                  <a:gd name="connsiteX20" fmla="*/ 24075 w 45333"/>
                  <a:gd name="connsiteY20" fmla="*/ 8835 h 58342"/>
                  <a:gd name="connsiteX21" fmla="*/ 14804 w 45333"/>
                  <a:gd name="connsiteY21" fmla="*/ 10928 h 58342"/>
                  <a:gd name="connsiteX22" fmla="*/ 11664 w 45333"/>
                  <a:gd name="connsiteY22" fmla="*/ 16461 h 58342"/>
                  <a:gd name="connsiteX23" fmla="*/ 13458 w 45333"/>
                  <a:gd name="connsiteY23" fmla="*/ 20498 h 58342"/>
                  <a:gd name="connsiteX24" fmla="*/ 17795 w 45333"/>
                  <a:gd name="connsiteY24" fmla="*/ 22891 h 58342"/>
                  <a:gd name="connsiteX25" fmla="*/ 25122 w 45333"/>
                  <a:gd name="connsiteY25" fmla="*/ 24835 h 58342"/>
                  <a:gd name="connsiteX26" fmla="*/ 35589 w 45333"/>
                  <a:gd name="connsiteY26" fmla="*/ 27975 h 58342"/>
                  <a:gd name="connsiteX27" fmla="*/ 42468 w 45333"/>
                  <a:gd name="connsiteY27" fmla="*/ 32760 h 58342"/>
                  <a:gd name="connsiteX28" fmla="*/ 45309 w 45333"/>
                  <a:gd name="connsiteY28" fmla="*/ 41583 h 58342"/>
                  <a:gd name="connsiteX29" fmla="*/ 42767 w 45333"/>
                  <a:gd name="connsiteY29" fmla="*/ 50106 h 58342"/>
                  <a:gd name="connsiteX30" fmla="*/ 34991 w 45333"/>
                  <a:gd name="connsiteY30" fmla="*/ 56088 h 58342"/>
                  <a:gd name="connsiteX31" fmla="*/ 22430 w 45333"/>
                  <a:gd name="connsiteY31" fmla="*/ 58331 h 58342"/>
                  <a:gd name="connsiteX32" fmla="*/ 9720 w 45333"/>
                  <a:gd name="connsiteY32" fmla="*/ 56536 h 5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3" h="58342">
                    <a:moveTo>
                      <a:pt x="9720" y="56536"/>
                    </a:moveTo>
                    <a:cubicBezTo>
                      <a:pt x="6167" y="55594"/>
                      <a:pt x="2853" y="53919"/>
                      <a:pt x="0" y="51602"/>
                    </a:cubicBezTo>
                    <a:lnTo>
                      <a:pt x="3738" y="43377"/>
                    </a:lnTo>
                    <a:cubicBezTo>
                      <a:pt x="6304" y="45351"/>
                      <a:pt x="9187" y="46861"/>
                      <a:pt x="12262" y="47863"/>
                    </a:cubicBezTo>
                    <a:cubicBezTo>
                      <a:pt x="15522" y="49045"/>
                      <a:pt x="18962" y="49658"/>
                      <a:pt x="22430" y="49658"/>
                    </a:cubicBezTo>
                    <a:cubicBezTo>
                      <a:pt x="25703" y="49852"/>
                      <a:pt x="28966" y="49119"/>
                      <a:pt x="31851" y="47564"/>
                    </a:cubicBezTo>
                    <a:cubicBezTo>
                      <a:pt x="33799" y="46472"/>
                      <a:pt x="35003" y="44409"/>
                      <a:pt x="34991" y="42181"/>
                    </a:cubicBezTo>
                    <a:cubicBezTo>
                      <a:pt x="34994" y="40685"/>
                      <a:pt x="34338" y="39265"/>
                      <a:pt x="33197" y="38293"/>
                    </a:cubicBezTo>
                    <a:cubicBezTo>
                      <a:pt x="31942" y="37156"/>
                      <a:pt x="30466" y="36289"/>
                      <a:pt x="28860" y="35751"/>
                    </a:cubicBezTo>
                    <a:lnTo>
                      <a:pt x="21533" y="33807"/>
                    </a:lnTo>
                    <a:cubicBezTo>
                      <a:pt x="17978" y="32984"/>
                      <a:pt x="14482" y="31938"/>
                      <a:pt x="11065" y="30667"/>
                    </a:cubicBezTo>
                    <a:cubicBezTo>
                      <a:pt x="8416" y="29665"/>
                      <a:pt x="6055" y="28020"/>
                      <a:pt x="4187" y="25882"/>
                    </a:cubicBezTo>
                    <a:cubicBezTo>
                      <a:pt x="2125" y="23355"/>
                      <a:pt x="1062" y="20169"/>
                      <a:pt x="1196" y="16910"/>
                    </a:cubicBezTo>
                    <a:cubicBezTo>
                      <a:pt x="1159" y="13874"/>
                      <a:pt x="2046" y="10898"/>
                      <a:pt x="3738" y="8386"/>
                    </a:cubicBezTo>
                    <a:cubicBezTo>
                      <a:pt x="5709" y="5665"/>
                      <a:pt x="8402" y="3541"/>
                      <a:pt x="11514" y="2255"/>
                    </a:cubicBezTo>
                    <a:cubicBezTo>
                      <a:pt x="15504" y="655"/>
                      <a:pt x="19779" y="-107"/>
                      <a:pt x="24075" y="12"/>
                    </a:cubicBezTo>
                    <a:cubicBezTo>
                      <a:pt x="27510" y="12"/>
                      <a:pt x="30928" y="461"/>
                      <a:pt x="34243" y="1358"/>
                    </a:cubicBezTo>
                    <a:cubicBezTo>
                      <a:pt x="37331" y="2091"/>
                      <a:pt x="40267" y="3347"/>
                      <a:pt x="42916" y="5096"/>
                    </a:cubicBezTo>
                    <a:lnTo>
                      <a:pt x="39627" y="13171"/>
                    </a:lnTo>
                    <a:cubicBezTo>
                      <a:pt x="37174" y="11766"/>
                      <a:pt x="34563" y="10674"/>
                      <a:pt x="31851" y="9881"/>
                    </a:cubicBezTo>
                    <a:cubicBezTo>
                      <a:pt x="29319" y="9179"/>
                      <a:pt x="26702" y="8820"/>
                      <a:pt x="24075" y="8835"/>
                    </a:cubicBezTo>
                    <a:cubicBezTo>
                      <a:pt x="20839" y="8506"/>
                      <a:pt x="17584" y="9238"/>
                      <a:pt x="14804" y="10928"/>
                    </a:cubicBezTo>
                    <a:cubicBezTo>
                      <a:pt x="12854" y="12095"/>
                      <a:pt x="11661" y="14188"/>
                      <a:pt x="11664" y="16461"/>
                    </a:cubicBezTo>
                    <a:cubicBezTo>
                      <a:pt x="11616" y="18016"/>
                      <a:pt x="12275" y="19496"/>
                      <a:pt x="13458" y="20498"/>
                    </a:cubicBezTo>
                    <a:cubicBezTo>
                      <a:pt x="14743" y="21560"/>
                      <a:pt x="16214" y="22368"/>
                      <a:pt x="17795" y="22891"/>
                    </a:cubicBezTo>
                    <a:lnTo>
                      <a:pt x="25122" y="24835"/>
                    </a:lnTo>
                    <a:cubicBezTo>
                      <a:pt x="28670" y="25672"/>
                      <a:pt x="32165" y="26719"/>
                      <a:pt x="35589" y="27975"/>
                    </a:cubicBezTo>
                    <a:cubicBezTo>
                      <a:pt x="38219" y="29022"/>
                      <a:pt x="40573" y="30652"/>
                      <a:pt x="42468" y="32760"/>
                    </a:cubicBezTo>
                    <a:cubicBezTo>
                      <a:pt x="44491" y="35242"/>
                      <a:pt x="45506" y="38383"/>
                      <a:pt x="45309" y="41583"/>
                    </a:cubicBezTo>
                    <a:cubicBezTo>
                      <a:pt x="45346" y="44618"/>
                      <a:pt x="44459" y="47594"/>
                      <a:pt x="42767" y="50106"/>
                    </a:cubicBezTo>
                    <a:cubicBezTo>
                      <a:pt x="40817" y="52813"/>
                      <a:pt x="38113" y="54891"/>
                      <a:pt x="34991" y="56088"/>
                    </a:cubicBezTo>
                    <a:cubicBezTo>
                      <a:pt x="31001" y="57688"/>
                      <a:pt x="26726" y="58450"/>
                      <a:pt x="22430" y="58331"/>
                    </a:cubicBezTo>
                    <a:cubicBezTo>
                      <a:pt x="18129" y="58345"/>
                      <a:pt x="13848" y="57747"/>
                      <a:pt x="9720" y="5653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748876B3-AC74-4C10-D112-AC95D6D4348C}"/>
                  </a:ext>
                </a:extLst>
              </p:cNvPr>
              <p:cNvSpPr/>
              <p:nvPr/>
            </p:nvSpPr>
            <p:spPr>
              <a:xfrm>
                <a:off x="3536245" y="3403127"/>
                <a:ext cx="61608" cy="56673"/>
              </a:xfrm>
              <a:custGeom>
                <a:avLst/>
                <a:gdLst>
                  <a:gd name="connsiteX0" fmla="*/ 44860 w 61608"/>
                  <a:gd name="connsiteY0" fmla="*/ 43514 h 56673"/>
                  <a:gd name="connsiteX1" fmla="*/ 16598 w 61608"/>
                  <a:gd name="connsiteY1" fmla="*/ 43514 h 56673"/>
                  <a:gd name="connsiteX2" fmla="*/ 10916 w 61608"/>
                  <a:gd name="connsiteY2" fmla="*/ 56673 h 56673"/>
                  <a:gd name="connsiteX3" fmla="*/ 0 w 61608"/>
                  <a:gd name="connsiteY3" fmla="*/ 56673 h 56673"/>
                  <a:gd name="connsiteX4" fmla="*/ 25570 w 61608"/>
                  <a:gd name="connsiteY4" fmla="*/ 0 h 56673"/>
                  <a:gd name="connsiteX5" fmla="*/ 36038 w 61608"/>
                  <a:gd name="connsiteY5" fmla="*/ 0 h 56673"/>
                  <a:gd name="connsiteX6" fmla="*/ 61608 w 61608"/>
                  <a:gd name="connsiteY6" fmla="*/ 56673 h 56673"/>
                  <a:gd name="connsiteX7" fmla="*/ 50543 w 61608"/>
                  <a:gd name="connsiteY7" fmla="*/ 56673 h 56673"/>
                  <a:gd name="connsiteX8" fmla="*/ 41421 w 61608"/>
                  <a:gd name="connsiteY8" fmla="*/ 35290 h 56673"/>
                  <a:gd name="connsiteX9" fmla="*/ 30654 w 61608"/>
                  <a:gd name="connsiteY9" fmla="*/ 10467 h 56673"/>
                  <a:gd name="connsiteX10" fmla="*/ 20038 w 61608"/>
                  <a:gd name="connsiteY10" fmla="*/ 3529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08" h="56673">
                    <a:moveTo>
                      <a:pt x="44860" y="43514"/>
                    </a:moveTo>
                    <a:lnTo>
                      <a:pt x="16598" y="43514"/>
                    </a:lnTo>
                    <a:lnTo>
                      <a:pt x="10916" y="56673"/>
                    </a:lnTo>
                    <a:lnTo>
                      <a:pt x="0" y="56673"/>
                    </a:lnTo>
                    <a:lnTo>
                      <a:pt x="25570" y="0"/>
                    </a:lnTo>
                    <a:lnTo>
                      <a:pt x="36038" y="0"/>
                    </a:lnTo>
                    <a:lnTo>
                      <a:pt x="61608" y="56673"/>
                    </a:lnTo>
                    <a:lnTo>
                      <a:pt x="50543" y="56673"/>
                    </a:lnTo>
                    <a:close/>
                    <a:moveTo>
                      <a:pt x="41421" y="35290"/>
                    </a:moveTo>
                    <a:lnTo>
                      <a:pt x="30654" y="1046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B615DB7B-F6BA-DFFF-B093-F0662464D032}"/>
                  </a:ext>
                </a:extLst>
              </p:cNvPr>
              <p:cNvSpPr/>
              <p:nvPr/>
            </p:nvSpPr>
            <p:spPr>
              <a:xfrm>
                <a:off x="3631947" y="3403127"/>
                <a:ext cx="48000" cy="56823"/>
              </a:xfrm>
              <a:custGeom>
                <a:avLst/>
                <a:gdLst>
                  <a:gd name="connsiteX0" fmla="*/ 37084 w 48000"/>
                  <a:gd name="connsiteY0" fmla="*/ 56674 h 56823"/>
                  <a:gd name="connsiteX1" fmla="*/ 25570 w 48000"/>
                  <a:gd name="connsiteY1" fmla="*/ 40075 h 56823"/>
                  <a:gd name="connsiteX2" fmla="*/ 10617 w 48000"/>
                  <a:gd name="connsiteY2" fmla="*/ 40075 h 56823"/>
                  <a:gd name="connsiteX3" fmla="*/ 10617 w 48000"/>
                  <a:gd name="connsiteY3" fmla="*/ 56674 h 56823"/>
                  <a:gd name="connsiteX4" fmla="*/ 0 w 48000"/>
                  <a:gd name="connsiteY4" fmla="*/ 56674 h 56823"/>
                  <a:gd name="connsiteX5" fmla="*/ 0 w 48000"/>
                  <a:gd name="connsiteY5" fmla="*/ 0 h 56823"/>
                  <a:gd name="connsiteX6" fmla="*/ 23327 w 48000"/>
                  <a:gd name="connsiteY6" fmla="*/ 0 h 56823"/>
                  <a:gd name="connsiteX7" fmla="*/ 35739 w 48000"/>
                  <a:gd name="connsiteY7" fmla="*/ 2542 h 56823"/>
                  <a:gd name="connsiteX8" fmla="*/ 44113 w 48000"/>
                  <a:gd name="connsiteY8" fmla="*/ 9421 h 56823"/>
                  <a:gd name="connsiteX9" fmla="*/ 47103 w 48000"/>
                  <a:gd name="connsiteY9" fmla="*/ 20337 h 56823"/>
                  <a:gd name="connsiteX10" fmla="*/ 43963 w 48000"/>
                  <a:gd name="connsiteY10" fmla="*/ 31253 h 56823"/>
                  <a:gd name="connsiteX11" fmla="*/ 34991 w 48000"/>
                  <a:gd name="connsiteY11" fmla="*/ 38131 h 56823"/>
                  <a:gd name="connsiteX12" fmla="*/ 48000 w 48000"/>
                  <a:gd name="connsiteY12" fmla="*/ 56823 h 56823"/>
                  <a:gd name="connsiteX13" fmla="*/ 33346 w 48000"/>
                  <a:gd name="connsiteY13" fmla="*/ 11813 h 56823"/>
                  <a:gd name="connsiteX14" fmla="*/ 22879 w 48000"/>
                  <a:gd name="connsiteY14" fmla="*/ 8823 h 56823"/>
                  <a:gd name="connsiteX15" fmla="*/ 10617 w 48000"/>
                  <a:gd name="connsiteY15" fmla="*/ 8823 h 56823"/>
                  <a:gd name="connsiteX16" fmla="*/ 10617 w 48000"/>
                  <a:gd name="connsiteY16" fmla="*/ 31402 h 56823"/>
                  <a:gd name="connsiteX17" fmla="*/ 22879 w 48000"/>
                  <a:gd name="connsiteY17" fmla="*/ 31402 h 56823"/>
                  <a:gd name="connsiteX18" fmla="*/ 33346 w 48000"/>
                  <a:gd name="connsiteY18" fmla="*/ 28561 h 56823"/>
                  <a:gd name="connsiteX19" fmla="*/ 36935 w 48000"/>
                  <a:gd name="connsiteY19" fmla="*/ 20187 h 56823"/>
                  <a:gd name="connsiteX20" fmla="*/ 33346 w 48000"/>
                  <a:gd name="connsiteY20" fmla="*/ 1181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8000" h="56823">
                    <a:moveTo>
                      <a:pt x="37084" y="56674"/>
                    </a:moveTo>
                    <a:lnTo>
                      <a:pt x="25570" y="40075"/>
                    </a:lnTo>
                    <a:lnTo>
                      <a:pt x="10617" y="40075"/>
                    </a:lnTo>
                    <a:lnTo>
                      <a:pt x="10617" y="56674"/>
                    </a:lnTo>
                    <a:lnTo>
                      <a:pt x="0" y="56674"/>
                    </a:lnTo>
                    <a:lnTo>
                      <a:pt x="0" y="0"/>
                    </a:lnTo>
                    <a:lnTo>
                      <a:pt x="23327" y="0"/>
                    </a:lnTo>
                    <a:cubicBezTo>
                      <a:pt x="27597" y="-15"/>
                      <a:pt x="31822" y="838"/>
                      <a:pt x="35739" y="2542"/>
                    </a:cubicBezTo>
                    <a:cubicBezTo>
                      <a:pt x="39157" y="3948"/>
                      <a:pt x="42076" y="6340"/>
                      <a:pt x="44113" y="9421"/>
                    </a:cubicBezTo>
                    <a:cubicBezTo>
                      <a:pt x="46130" y="12696"/>
                      <a:pt x="47168" y="16494"/>
                      <a:pt x="47103" y="20337"/>
                    </a:cubicBezTo>
                    <a:cubicBezTo>
                      <a:pt x="47205" y="24210"/>
                      <a:pt x="46107" y="28023"/>
                      <a:pt x="43963" y="31253"/>
                    </a:cubicBezTo>
                    <a:cubicBezTo>
                      <a:pt x="41775" y="34438"/>
                      <a:pt x="38635" y="36845"/>
                      <a:pt x="34991" y="38131"/>
                    </a:cubicBezTo>
                    <a:lnTo>
                      <a:pt x="48000" y="56823"/>
                    </a:lnTo>
                    <a:close/>
                    <a:moveTo>
                      <a:pt x="33346" y="11813"/>
                    </a:moveTo>
                    <a:cubicBezTo>
                      <a:pt x="30308" y="9630"/>
                      <a:pt x="26610" y="8583"/>
                      <a:pt x="22879" y="8823"/>
                    </a:cubicBezTo>
                    <a:lnTo>
                      <a:pt x="10617" y="8823"/>
                    </a:lnTo>
                    <a:lnTo>
                      <a:pt x="10617" y="31402"/>
                    </a:lnTo>
                    <a:lnTo>
                      <a:pt x="22879" y="31402"/>
                    </a:lnTo>
                    <a:cubicBezTo>
                      <a:pt x="26592" y="31686"/>
                      <a:pt x="30288" y="30685"/>
                      <a:pt x="33346" y="28561"/>
                    </a:cubicBezTo>
                    <a:cubicBezTo>
                      <a:pt x="35758" y="26468"/>
                      <a:pt x="37080" y="23387"/>
                      <a:pt x="36935" y="20187"/>
                    </a:cubicBezTo>
                    <a:cubicBezTo>
                      <a:pt x="37150" y="16987"/>
                      <a:pt x="35816" y="13862"/>
                      <a:pt x="33346" y="11813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AE2757C5-4BE2-80AD-970B-B496F7113F9F}"/>
                  </a:ext>
                </a:extLst>
              </p:cNvPr>
              <p:cNvSpPr/>
              <p:nvPr/>
            </p:nvSpPr>
            <p:spPr>
              <a:xfrm>
                <a:off x="3718079" y="3402978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04B6D54D-917B-E76D-F283-B294FA18D164}"/>
                  </a:ext>
                </a:extLst>
              </p:cNvPr>
              <p:cNvSpPr/>
              <p:nvPr/>
            </p:nvSpPr>
            <p:spPr>
              <a:xfrm>
                <a:off x="3762939" y="3403127"/>
                <a:ext cx="61458" cy="56673"/>
              </a:xfrm>
              <a:custGeom>
                <a:avLst/>
                <a:gdLst>
                  <a:gd name="connsiteX0" fmla="*/ 44711 w 61458"/>
                  <a:gd name="connsiteY0" fmla="*/ 43514 h 56673"/>
                  <a:gd name="connsiteX1" fmla="*/ 16449 w 61458"/>
                  <a:gd name="connsiteY1" fmla="*/ 43514 h 56673"/>
                  <a:gd name="connsiteX2" fmla="*/ 10766 w 61458"/>
                  <a:gd name="connsiteY2" fmla="*/ 56673 h 56673"/>
                  <a:gd name="connsiteX3" fmla="*/ 0 w 61458"/>
                  <a:gd name="connsiteY3" fmla="*/ 56673 h 56673"/>
                  <a:gd name="connsiteX4" fmla="*/ 25421 w 61458"/>
                  <a:gd name="connsiteY4" fmla="*/ 0 h 56673"/>
                  <a:gd name="connsiteX5" fmla="*/ 35888 w 61458"/>
                  <a:gd name="connsiteY5" fmla="*/ 0 h 56673"/>
                  <a:gd name="connsiteX6" fmla="*/ 61459 w 61458"/>
                  <a:gd name="connsiteY6" fmla="*/ 56673 h 56673"/>
                  <a:gd name="connsiteX7" fmla="*/ 50393 w 61458"/>
                  <a:gd name="connsiteY7" fmla="*/ 56673 h 56673"/>
                  <a:gd name="connsiteX8" fmla="*/ 41271 w 61458"/>
                  <a:gd name="connsiteY8" fmla="*/ 35290 h 56673"/>
                  <a:gd name="connsiteX9" fmla="*/ 30654 w 61458"/>
                  <a:gd name="connsiteY9" fmla="*/ 10467 h 56673"/>
                  <a:gd name="connsiteX10" fmla="*/ 20038 w 61458"/>
                  <a:gd name="connsiteY10" fmla="*/ 3529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458" h="56673">
                    <a:moveTo>
                      <a:pt x="44711" y="43514"/>
                    </a:moveTo>
                    <a:lnTo>
                      <a:pt x="16449" y="43514"/>
                    </a:lnTo>
                    <a:lnTo>
                      <a:pt x="10766" y="56673"/>
                    </a:lnTo>
                    <a:lnTo>
                      <a:pt x="0" y="56673"/>
                    </a:lnTo>
                    <a:lnTo>
                      <a:pt x="25421" y="0"/>
                    </a:lnTo>
                    <a:lnTo>
                      <a:pt x="35888" y="0"/>
                    </a:lnTo>
                    <a:lnTo>
                      <a:pt x="61459" y="56673"/>
                    </a:lnTo>
                    <a:lnTo>
                      <a:pt x="50393" y="56673"/>
                    </a:lnTo>
                    <a:close/>
                    <a:moveTo>
                      <a:pt x="41271" y="35290"/>
                    </a:moveTo>
                    <a:lnTo>
                      <a:pt x="30654" y="1046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FBB7E065-CDFE-90AD-BD3E-1A609EF04D82}"/>
                  </a:ext>
                </a:extLst>
              </p:cNvPr>
              <p:cNvSpPr/>
              <p:nvPr/>
            </p:nvSpPr>
            <p:spPr>
              <a:xfrm>
                <a:off x="3848473" y="3403127"/>
                <a:ext cx="48150" cy="56673"/>
              </a:xfrm>
              <a:custGeom>
                <a:avLst/>
                <a:gdLst>
                  <a:gd name="connsiteX0" fmla="*/ 18692 w 48150"/>
                  <a:gd name="connsiteY0" fmla="*/ 8822 h 56673"/>
                  <a:gd name="connsiteX1" fmla="*/ 0 w 48150"/>
                  <a:gd name="connsiteY1" fmla="*/ 8822 h 56673"/>
                  <a:gd name="connsiteX2" fmla="*/ 0 w 48150"/>
                  <a:gd name="connsiteY2" fmla="*/ 0 h 56673"/>
                  <a:gd name="connsiteX3" fmla="*/ 48150 w 48150"/>
                  <a:gd name="connsiteY3" fmla="*/ 0 h 56673"/>
                  <a:gd name="connsiteX4" fmla="*/ 48150 w 48150"/>
                  <a:gd name="connsiteY4" fmla="*/ 8822 h 56673"/>
                  <a:gd name="connsiteX5" fmla="*/ 29309 w 48150"/>
                  <a:gd name="connsiteY5" fmla="*/ 8822 h 56673"/>
                  <a:gd name="connsiteX6" fmla="*/ 29309 w 48150"/>
                  <a:gd name="connsiteY6" fmla="*/ 56673 h 56673"/>
                  <a:gd name="connsiteX7" fmla="*/ 18692 w 48150"/>
                  <a:gd name="connsiteY7" fmla="*/ 56673 h 56673"/>
                  <a:gd name="connsiteX8" fmla="*/ 18692 w 48150"/>
                  <a:gd name="connsiteY8" fmla="*/ 8822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673">
                    <a:moveTo>
                      <a:pt x="18692" y="8822"/>
                    </a:moveTo>
                    <a:lnTo>
                      <a:pt x="0" y="882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822"/>
                    </a:lnTo>
                    <a:lnTo>
                      <a:pt x="29309" y="8822"/>
                    </a:lnTo>
                    <a:lnTo>
                      <a:pt x="29309" y="56673"/>
                    </a:lnTo>
                    <a:lnTo>
                      <a:pt x="18692" y="56673"/>
                    </a:lnTo>
                    <a:lnTo>
                      <a:pt x="18692" y="882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C7100292-C364-E4D9-5F20-DD5E6B0645E5}"/>
                  </a:ext>
                </a:extLst>
              </p:cNvPr>
              <p:cNvSpPr/>
              <p:nvPr/>
            </p:nvSpPr>
            <p:spPr>
              <a:xfrm>
                <a:off x="3971091" y="3403127"/>
                <a:ext cx="61608" cy="56673"/>
              </a:xfrm>
              <a:custGeom>
                <a:avLst/>
                <a:gdLst>
                  <a:gd name="connsiteX0" fmla="*/ 44860 w 61608"/>
                  <a:gd name="connsiteY0" fmla="*/ 43514 h 56673"/>
                  <a:gd name="connsiteX1" fmla="*/ 16449 w 61608"/>
                  <a:gd name="connsiteY1" fmla="*/ 43514 h 56673"/>
                  <a:gd name="connsiteX2" fmla="*/ 10916 w 61608"/>
                  <a:gd name="connsiteY2" fmla="*/ 56673 h 56673"/>
                  <a:gd name="connsiteX3" fmla="*/ 0 w 61608"/>
                  <a:gd name="connsiteY3" fmla="*/ 56673 h 56673"/>
                  <a:gd name="connsiteX4" fmla="*/ 25570 w 61608"/>
                  <a:gd name="connsiteY4" fmla="*/ 0 h 56673"/>
                  <a:gd name="connsiteX5" fmla="*/ 35888 w 61608"/>
                  <a:gd name="connsiteY5" fmla="*/ 0 h 56673"/>
                  <a:gd name="connsiteX6" fmla="*/ 61608 w 61608"/>
                  <a:gd name="connsiteY6" fmla="*/ 56673 h 56673"/>
                  <a:gd name="connsiteX7" fmla="*/ 50542 w 61608"/>
                  <a:gd name="connsiteY7" fmla="*/ 56673 h 56673"/>
                  <a:gd name="connsiteX8" fmla="*/ 41421 w 61608"/>
                  <a:gd name="connsiteY8" fmla="*/ 35290 h 56673"/>
                  <a:gd name="connsiteX9" fmla="*/ 30654 w 61608"/>
                  <a:gd name="connsiteY9" fmla="*/ 10467 h 56673"/>
                  <a:gd name="connsiteX10" fmla="*/ 20038 w 61608"/>
                  <a:gd name="connsiteY10" fmla="*/ 35290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608" h="56673">
                    <a:moveTo>
                      <a:pt x="44860" y="43514"/>
                    </a:moveTo>
                    <a:lnTo>
                      <a:pt x="16449" y="43514"/>
                    </a:lnTo>
                    <a:lnTo>
                      <a:pt x="10916" y="56673"/>
                    </a:lnTo>
                    <a:lnTo>
                      <a:pt x="0" y="56673"/>
                    </a:lnTo>
                    <a:lnTo>
                      <a:pt x="25570" y="0"/>
                    </a:lnTo>
                    <a:lnTo>
                      <a:pt x="35888" y="0"/>
                    </a:lnTo>
                    <a:lnTo>
                      <a:pt x="61608" y="56673"/>
                    </a:lnTo>
                    <a:lnTo>
                      <a:pt x="50542" y="56673"/>
                    </a:lnTo>
                    <a:close/>
                    <a:moveTo>
                      <a:pt x="41421" y="35290"/>
                    </a:moveTo>
                    <a:lnTo>
                      <a:pt x="30654" y="10467"/>
                    </a:lnTo>
                    <a:lnTo>
                      <a:pt x="20038" y="3529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9BB40204-3AB4-DD2F-9376-A058C362F7D8}"/>
                  </a:ext>
                </a:extLst>
              </p:cNvPr>
              <p:cNvSpPr/>
              <p:nvPr/>
            </p:nvSpPr>
            <p:spPr>
              <a:xfrm>
                <a:off x="4064794" y="3403127"/>
                <a:ext cx="51099" cy="57923"/>
              </a:xfrm>
              <a:custGeom>
                <a:avLst/>
                <a:gdLst>
                  <a:gd name="connsiteX0" fmla="*/ 6634 w 51099"/>
                  <a:gd name="connsiteY0" fmla="*/ 50842 h 57923"/>
                  <a:gd name="connsiteX1" fmla="*/ 54 w 51099"/>
                  <a:gd name="connsiteY1" fmla="*/ 32000 h 57923"/>
                  <a:gd name="connsiteX2" fmla="*/ 54 w 51099"/>
                  <a:gd name="connsiteY2" fmla="*/ 0 h 57923"/>
                  <a:gd name="connsiteX3" fmla="*/ 10671 w 51099"/>
                  <a:gd name="connsiteY3" fmla="*/ 0 h 57923"/>
                  <a:gd name="connsiteX4" fmla="*/ 10671 w 51099"/>
                  <a:gd name="connsiteY4" fmla="*/ 31552 h 57923"/>
                  <a:gd name="connsiteX5" fmla="*/ 25624 w 51099"/>
                  <a:gd name="connsiteY5" fmla="*/ 48299 h 57923"/>
                  <a:gd name="connsiteX6" fmla="*/ 40578 w 51099"/>
                  <a:gd name="connsiteY6" fmla="*/ 31552 h 57923"/>
                  <a:gd name="connsiteX7" fmla="*/ 40578 w 51099"/>
                  <a:gd name="connsiteY7" fmla="*/ 0 h 57923"/>
                  <a:gd name="connsiteX8" fmla="*/ 51045 w 51099"/>
                  <a:gd name="connsiteY8" fmla="*/ 0 h 57923"/>
                  <a:gd name="connsiteX9" fmla="*/ 51045 w 51099"/>
                  <a:gd name="connsiteY9" fmla="*/ 32449 h 57923"/>
                  <a:gd name="connsiteX10" fmla="*/ 44466 w 51099"/>
                  <a:gd name="connsiteY10" fmla="*/ 51290 h 57923"/>
                  <a:gd name="connsiteX11" fmla="*/ 26223 w 51099"/>
                  <a:gd name="connsiteY11" fmla="*/ 57870 h 57923"/>
                  <a:gd name="connsiteX12" fmla="*/ 7830 w 51099"/>
                  <a:gd name="connsiteY12" fmla="*/ 51290 h 57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1099" h="57923">
                    <a:moveTo>
                      <a:pt x="6634" y="50842"/>
                    </a:moveTo>
                    <a:cubicBezTo>
                      <a:pt x="1979" y="45713"/>
                      <a:pt x="-396" y="38909"/>
                      <a:pt x="54" y="32000"/>
                    </a:cubicBezTo>
                    <a:lnTo>
                      <a:pt x="54" y="0"/>
                    </a:lnTo>
                    <a:lnTo>
                      <a:pt x="10671" y="0"/>
                    </a:lnTo>
                    <a:lnTo>
                      <a:pt x="10671" y="31552"/>
                    </a:lnTo>
                    <a:cubicBezTo>
                      <a:pt x="10671" y="42617"/>
                      <a:pt x="15456" y="48299"/>
                      <a:pt x="25624" y="48299"/>
                    </a:cubicBezTo>
                    <a:cubicBezTo>
                      <a:pt x="35793" y="48299"/>
                      <a:pt x="40578" y="42617"/>
                      <a:pt x="40578" y="31552"/>
                    </a:cubicBezTo>
                    <a:lnTo>
                      <a:pt x="40578" y="0"/>
                    </a:lnTo>
                    <a:lnTo>
                      <a:pt x="51045" y="0"/>
                    </a:lnTo>
                    <a:lnTo>
                      <a:pt x="51045" y="32449"/>
                    </a:lnTo>
                    <a:cubicBezTo>
                      <a:pt x="51495" y="39357"/>
                      <a:pt x="49121" y="46161"/>
                      <a:pt x="44466" y="51290"/>
                    </a:cubicBezTo>
                    <a:cubicBezTo>
                      <a:pt x="39566" y="55926"/>
                      <a:pt x="32955" y="58318"/>
                      <a:pt x="26223" y="57870"/>
                    </a:cubicBezTo>
                    <a:cubicBezTo>
                      <a:pt x="19446" y="58318"/>
                      <a:pt x="12785" y="55941"/>
                      <a:pt x="7830" y="51290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6CDFE072-656E-17A8-6D31-C4182C5CACDD}"/>
                  </a:ext>
                </a:extLst>
              </p:cNvPr>
              <p:cNvSpPr/>
              <p:nvPr/>
            </p:nvSpPr>
            <p:spPr>
              <a:xfrm>
                <a:off x="4148737" y="3403127"/>
                <a:ext cx="54729" cy="56673"/>
              </a:xfrm>
              <a:custGeom>
                <a:avLst/>
                <a:gdLst>
                  <a:gd name="connsiteX0" fmla="*/ 42617 w 54729"/>
                  <a:gd name="connsiteY0" fmla="*/ 56673 h 56673"/>
                  <a:gd name="connsiteX1" fmla="*/ 27215 w 54729"/>
                  <a:gd name="connsiteY1" fmla="*/ 35141 h 56673"/>
                  <a:gd name="connsiteX2" fmla="*/ 11963 w 54729"/>
                  <a:gd name="connsiteY2" fmla="*/ 56673 h 56673"/>
                  <a:gd name="connsiteX3" fmla="*/ 0 w 54729"/>
                  <a:gd name="connsiteY3" fmla="*/ 56673 h 56673"/>
                  <a:gd name="connsiteX4" fmla="*/ 21084 w 54729"/>
                  <a:gd name="connsiteY4" fmla="*/ 27813 h 56673"/>
                  <a:gd name="connsiteX5" fmla="*/ 1196 w 54729"/>
                  <a:gd name="connsiteY5" fmla="*/ 0 h 56673"/>
                  <a:gd name="connsiteX6" fmla="*/ 13010 w 54729"/>
                  <a:gd name="connsiteY6" fmla="*/ 0 h 56673"/>
                  <a:gd name="connsiteX7" fmla="*/ 27514 w 54729"/>
                  <a:gd name="connsiteY7" fmla="*/ 20038 h 56673"/>
                  <a:gd name="connsiteX8" fmla="*/ 41870 w 54729"/>
                  <a:gd name="connsiteY8" fmla="*/ 0 h 56673"/>
                  <a:gd name="connsiteX9" fmla="*/ 53384 w 54729"/>
                  <a:gd name="connsiteY9" fmla="*/ 0 h 56673"/>
                  <a:gd name="connsiteX10" fmla="*/ 33496 w 54729"/>
                  <a:gd name="connsiteY10" fmla="*/ 27365 h 56673"/>
                  <a:gd name="connsiteX11" fmla="*/ 54730 w 54729"/>
                  <a:gd name="connsiteY11" fmla="*/ 56673 h 56673"/>
                  <a:gd name="connsiteX12" fmla="*/ 42617 w 54729"/>
                  <a:gd name="connsiteY12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729" h="56673">
                    <a:moveTo>
                      <a:pt x="42617" y="56673"/>
                    </a:moveTo>
                    <a:lnTo>
                      <a:pt x="27215" y="35141"/>
                    </a:lnTo>
                    <a:lnTo>
                      <a:pt x="11963" y="56673"/>
                    </a:lnTo>
                    <a:lnTo>
                      <a:pt x="0" y="56673"/>
                    </a:lnTo>
                    <a:lnTo>
                      <a:pt x="21084" y="27813"/>
                    </a:lnTo>
                    <a:lnTo>
                      <a:pt x="1196" y="0"/>
                    </a:lnTo>
                    <a:lnTo>
                      <a:pt x="13010" y="0"/>
                    </a:lnTo>
                    <a:lnTo>
                      <a:pt x="27514" y="20038"/>
                    </a:lnTo>
                    <a:lnTo>
                      <a:pt x="41870" y="0"/>
                    </a:lnTo>
                    <a:lnTo>
                      <a:pt x="53384" y="0"/>
                    </a:lnTo>
                    <a:lnTo>
                      <a:pt x="33496" y="27365"/>
                    </a:lnTo>
                    <a:lnTo>
                      <a:pt x="54730" y="56673"/>
                    </a:lnTo>
                    <a:lnTo>
                      <a:pt x="42617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89A7E04F-4F9A-E31B-4DD6-64521D9883B9}"/>
                  </a:ext>
                </a:extLst>
              </p:cNvPr>
              <p:cNvSpPr/>
              <p:nvPr/>
            </p:nvSpPr>
            <p:spPr>
              <a:xfrm>
                <a:off x="4276587" y="3402379"/>
                <a:ext cx="52338" cy="58314"/>
              </a:xfrm>
              <a:custGeom>
                <a:avLst/>
                <a:gdLst>
                  <a:gd name="connsiteX0" fmla="*/ 14806 w 52338"/>
                  <a:gd name="connsiteY0" fmla="*/ 54430 h 58314"/>
                  <a:gd name="connsiteX1" fmla="*/ 4039 w 52338"/>
                  <a:gd name="connsiteY1" fmla="*/ 44113 h 58314"/>
                  <a:gd name="connsiteX2" fmla="*/ 2 w 52338"/>
                  <a:gd name="connsiteY2" fmla="*/ 29159 h 58314"/>
                  <a:gd name="connsiteX3" fmla="*/ 14955 w 52338"/>
                  <a:gd name="connsiteY3" fmla="*/ 3738 h 58314"/>
                  <a:gd name="connsiteX4" fmla="*/ 29909 w 52338"/>
                  <a:gd name="connsiteY4" fmla="*/ 0 h 58314"/>
                  <a:gd name="connsiteX5" fmla="*/ 42619 w 52338"/>
                  <a:gd name="connsiteY5" fmla="*/ 2393 h 58314"/>
                  <a:gd name="connsiteX6" fmla="*/ 52339 w 52338"/>
                  <a:gd name="connsiteY6" fmla="*/ 9570 h 58314"/>
                  <a:gd name="connsiteX7" fmla="*/ 45460 w 52338"/>
                  <a:gd name="connsiteY7" fmla="*/ 15851 h 58314"/>
                  <a:gd name="connsiteX8" fmla="*/ 30507 w 52338"/>
                  <a:gd name="connsiteY8" fmla="*/ 9271 h 58314"/>
                  <a:gd name="connsiteX9" fmla="*/ 20039 w 52338"/>
                  <a:gd name="connsiteY9" fmla="*/ 11813 h 58314"/>
                  <a:gd name="connsiteX10" fmla="*/ 12862 w 52338"/>
                  <a:gd name="connsiteY10" fmla="*/ 18841 h 58314"/>
                  <a:gd name="connsiteX11" fmla="*/ 10170 w 52338"/>
                  <a:gd name="connsiteY11" fmla="*/ 29159 h 58314"/>
                  <a:gd name="connsiteX12" fmla="*/ 12862 w 52338"/>
                  <a:gd name="connsiteY12" fmla="*/ 39477 h 58314"/>
                  <a:gd name="connsiteX13" fmla="*/ 20039 w 52338"/>
                  <a:gd name="connsiteY13" fmla="*/ 46655 h 58314"/>
                  <a:gd name="connsiteX14" fmla="*/ 30507 w 52338"/>
                  <a:gd name="connsiteY14" fmla="*/ 49197 h 58314"/>
                  <a:gd name="connsiteX15" fmla="*/ 45460 w 52338"/>
                  <a:gd name="connsiteY15" fmla="*/ 42468 h 58314"/>
                  <a:gd name="connsiteX16" fmla="*/ 52339 w 52338"/>
                  <a:gd name="connsiteY16" fmla="*/ 48898 h 58314"/>
                  <a:gd name="connsiteX17" fmla="*/ 42469 w 52338"/>
                  <a:gd name="connsiteY17" fmla="*/ 55926 h 58314"/>
                  <a:gd name="connsiteX18" fmla="*/ 14208 w 52338"/>
                  <a:gd name="connsiteY18" fmla="*/ 54580 h 5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2338" h="58314">
                    <a:moveTo>
                      <a:pt x="14806" y="54430"/>
                    </a:moveTo>
                    <a:cubicBezTo>
                      <a:pt x="10335" y="52053"/>
                      <a:pt x="6611" y="48479"/>
                      <a:pt x="4039" y="44113"/>
                    </a:cubicBezTo>
                    <a:cubicBezTo>
                      <a:pt x="1363" y="39582"/>
                      <a:pt x="-43" y="34423"/>
                      <a:pt x="2" y="29159"/>
                    </a:cubicBezTo>
                    <a:cubicBezTo>
                      <a:pt x="-118" y="18572"/>
                      <a:pt x="5639" y="8778"/>
                      <a:pt x="14955" y="3738"/>
                    </a:cubicBezTo>
                    <a:cubicBezTo>
                      <a:pt x="19576" y="1331"/>
                      <a:pt x="24705" y="60"/>
                      <a:pt x="29909" y="0"/>
                    </a:cubicBezTo>
                    <a:cubicBezTo>
                      <a:pt x="34260" y="0"/>
                      <a:pt x="38567" y="807"/>
                      <a:pt x="42619" y="2393"/>
                    </a:cubicBezTo>
                    <a:cubicBezTo>
                      <a:pt x="46357" y="4023"/>
                      <a:pt x="49677" y="6475"/>
                      <a:pt x="52339" y="9570"/>
                    </a:cubicBezTo>
                    <a:lnTo>
                      <a:pt x="45460" y="15851"/>
                    </a:lnTo>
                    <a:cubicBezTo>
                      <a:pt x="41647" y="11619"/>
                      <a:pt x="36204" y="9226"/>
                      <a:pt x="30507" y="9271"/>
                    </a:cubicBezTo>
                    <a:cubicBezTo>
                      <a:pt x="26858" y="9226"/>
                      <a:pt x="23254" y="10094"/>
                      <a:pt x="20039" y="11813"/>
                    </a:cubicBezTo>
                    <a:cubicBezTo>
                      <a:pt x="17004" y="13383"/>
                      <a:pt x="14507" y="15836"/>
                      <a:pt x="12862" y="18841"/>
                    </a:cubicBezTo>
                    <a:cubicBezTo>
                      <a:pt x="11067" y="21982"/>
                      <a:pt x="10140" y="25540"/>
                      <a:pt x="10170" y="29159"/>
                    </a:cubicBezTo>
                    <a:cubicBezTo>
                      <a:pt x="10095" y="32778"/>
                      <a:pt x="11022" y="36352"/>
                      <a:pt x="12862" y="39477"/>
                    </a:cubicBezTo>
                    <a:cubicBezTo>
                      <a:pt x="14537" y="42498"/>
                      <a:pt x="17019" y="44980"/>
                      <a:pt x="20039" y="46655"/>
                    </a:cubicBezTo>
                    <a:cubicBezTo>
                      <a:pt x="23254" y="48374"/>
                      <a:pt x="26858" y="49242"/>
                      <a:pt x="30507" y="49197"/>
                    </a:cubicBezTo>
                    <a:cubicBezTo>
                      <a:pt x="36234" y="49242"/>
                      <a:pt x="41707" y="46789"/>
                      <a:pt x="45460" y="42468"/>
                    </a:cubicBezTo>
                    <a:lnTo>
                      <a:pt x="52339" y="48898"/>
                    </a:lnTo>
                    <a:cubicBezTo>
                      <a:pt x="49647" y="51978"/>
                      <a:pt x="46268" y="54386"/>
                      <a:pt x="42469" y="55926"/>
                    </a:cubicBezTo>
                    <a:cubicBezTo>
                      <a:pt x="33288" y="59530"/>
                      <a:pt x="23000" y="59036"/>
                      <a:pt x="14208" y="54580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84573A90-F73B-2F8B-A6FD-A9E4592A0FC6}"/>
                  </a:ext>
                </a:extLst>
              </p:cNvPr>
              <p:cNvSpPr/>
              <p:nvPr/>
            </p:nvSpPr>
            <p:spPr>
              <a:xfrm>
                <a:off x="4361138" y="3402234"/>
                <a:ext cx="61248" cy="58161"/>
              </a:xfrm>
              <a:custGeom>
                <a:avLst/>
                <a:gdLst>
                  <a:gd name="connsiteX0" fmla="*/ 15040 w 61248"/>
                  <a:gd name="connsiteY0" fmla="*/ 54576 h 58161"/>
                  <a:gd name="connsiteX1" fmla="*/ 3601 w 61248"/>
                  <a:gd name="connsiteY1" fmla="*/ 15174 h 58161"/>
                  <a:gd name="connsiteX2" fmla="*/ 15040 w 61248"/>
                  <a:gd name="connsiteY2" fmla="*/ 3735 h 58161"/>
                  <a:gd name="connsiteX3" fmla="*/ 46293 w 61248"/>
                  <a:gd name="connsiteY3" fmla="*/ 3735 h 58161"/>
                  <a:gd name="connsiteX4" fmla="*/ 57209 w 61248"/>
                  <a:gd name="connsiteY4" fmla="*/ 14202 h 58161"/>
                  <a:gd name="connsiteX5" fmla="*/ 61246 w 61248"/>
                  <a:gd name="connsiteY5" fmla="*/ 29156 h 58161"/>
                  <a:gd name="connsiteX6" fmla="*/ 57209 w 61248"/>
                  <a:gd name="connsiteY6" fmla="*/ 44109 h 58161"/>
                  <a:gd name="connsiteX7" fmla="*/ 46293 w 61248"/>
                  <a:gd name="connsiteY7" fmla="*/ 54427 h 58161"/>
                  <a:gd name="connsiteX8" fmla="*/ 15040 w 61248"/>
                  <a:gd name="connsiteY8" fmla="*/ 54427 h 58161"/>
                  <a:gd name="connsiteX9" fmla="*/ 40910 w 61248"/>
                  <a:gd name="connsiteY9" fmla="*/ 46501 h 58161"/>
                  <a:gd name="connsiteX10" fmla="*/ 48087 w 61248"/>
                  <a:gd name="connsiteY10" fmla="*/ 39324 h 58161"/>
                  <a:gd name="connsiteX11" fmla="*/ 50630 w 61248"/>
                  <a:gd name="connsiteY11" fmla="*/ 29006 h 58161"/>
                  <a:gd name="connsiteX12" fmla="*/ 48087 w 61248"/>
                  <a:gd name="connsiteY12" fmla="*/ 18838 h 58161"/>
                  <a:gd name="connsiteX13" fmla="*/ 40910 w 61248"/>
                  <a:gd name="connsiteY13" fmla="*/ 11660 h 58161"/>
                  <a:gd name="connsiteX14" fmla="*/ 30742 w 61248"/>
                  <a:gd name="connsiteY14" fmla="*/ 9118 h 58161"/>
                  <a:gd name="connsiteX15" fmla="*/ 20424 w 61248"/>
                  <a:gd name="connsiteY15" fmla="*/ 11660 h 58161"/>
                  <a:gd name="connsiteX16" fmla="*/ 13395 w 61248"/>
                  <a:gd name="connsiteY16" fmla="*/ 18838 h 58161"/>
                  <a:gd name="connsiteX17" fmla="*/ 10704 w 61248"/>
                  <a:gd name="connsiteY17" fmla="*/ 29006 h 58161"/>
                  <a:gd name="connsiteX18" fmla="*/ 13395 w 61248"/>
                  <a:gd name="connsiteY18" fmla="*/ 39324 h 58161"/>
                  <a:gd name="connsiteX19" fmla="*/ 20424 w 61248"/>
                  <a:gd name="connsiteY19" fmla="*/ 46501 h 58161"/>
                  <a:gd name="connsiteX20" fmla="*/ 30742 w 61248"/>
                  <a:gd name="connsiteY20" fmla="*/ 49044 h 58161"/>
                  <a:gd name="connsiteX21" fmla="*/ 40910 w 61248"/>
                  <a:gd name="connsiteY21" fmla="*/ 46501 h 58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1248" h="58161">
                    <a:moveTo>
                      <a:pt x="15040" y="54576"/>
                    </a:moveTo>
                    <a:cubicBezTo>
                      <a:pt x="999" y="46860"/>
                      <a:pt x="-4130" y="29215"/>
                      <a:pt x="3601" y="15174"/>
                    </a:cubicBezTo>
                    <a:cubicBezTo>
                      <a:pt x="6248" y="10359"/>
                      <a:pt x="10210" y="6381"/>
                      <a:pt x="15040" y="3735"/>
                    </a:cubicBezTo>
                    <a:cubicBezTo>
                      <a:pt x="24865" y="-1245"/>
                      <a:pt x="36469" y="-1245"/>
                      <a:pt x="46293" y="3735"/>
                    </a:cubicBezTo>
                    <a:cubicBezTo>
                      <a:pt x="50854" y="6127"/>
                      <a:pt x="54637" y="9746"/>
                      <a:pt x="57209" y="14202"/>
                    </a:cubicBezTo>
                    <a:cubicBezTo>
                      <a:pt x="59916" y="18718"/>
                      <a:pt x="61306" y="23892"/>
                      <a:pt x="61246" y="29156"/>
                    </a:cubicBezTo>
                    <a:cubicBezTo>
                      <a:pt x="61291" y="34419"/>
                      <a:pt x="59886" y="39578"/>
                      <a:pt x="57209" y="44109"/>
                    </a:cubicBezTo>
                    <a:cubicBezTo>
                      <a:pt x="54577" y="48475"/>
                      <a:pt x="50809" y="52049"/>
                      <a:pt x="46293" y="54427"/>
                    </a:cubicBezTo>
                    <a:cubicBezTo>
                      <a:pt x="36469" y="59406"/>
                      <a:pt x="24865" y="59406"/>
                      <a:pt x="15040" y="54427"/>
                    </a:cubicBezTo>
                    <a:moveTo>
                      <a:pt x="40910" y="46501"/>
                    </a:moveTo>
                    <a:cubicBezTo>
                      <a:pt x="43856" y="44737"/>
                      <a:pt x="46323" y="42270"/>
                      <a:pt x="48087" y="39324"/>
                    </a:cubicBezTo>
                    <a:cubicBezTo>
                      <a:pt x="49777" y="36154"/>
                      <a:pt x="50659" y="32610"/>
                      <a:pt x="50630" y="29006"/>
                    </a:cubicBezTo>
                    <a:cubicBezTo>
                      <a:pt x="50659" y="25462"/>
                      <a:pt x="49777" y="21963"/>
                      <a:pt x="48087" y="18838"/>
                    </a:cubicBezTo>
                    <a:cubicBezTo>
                      <a:pt x="46413" y="15817"/>
                      <a:pt x="43930" y="13335"/>
                      <a:pt x="40910" y="11660"/>
                    </a:cubicBezTo>
                    <a:cubicBezTo>
                      <a:pt x="37785" y="9970"/>
                      <a:pt x="34285" y="9088"/>
                      <a:pt x="30742" y="9118"/>
                    </a:cubicBezTo>
                    <a:cubicBezTo>
                      <a:pt x="27138" y="9088"/>
                      <a:pt x="23594" y="9970"/>
                      <a:pt x="20424" y="11660"/>
                    </a:cubicBezTo>
                    <a:cubicBezTo>
                      <a:pt x="17418" y="13305"/>
                      <a:pt x="14966" y="15802"/>
                      <a:pt x="13395" y="18838"/>
                    </a:cubicBezTo>
                    <a:cubicBezTo>
                      <a:pt x="11586" y="21918"/>
                      <a:pt x="10644" y="25432"/>
                      <a:pt x="10704" y="29006"/>
                    </a:cubicBezTo>
                    <a:cubicBezTo>
                      <a:pt x="10659" y="32625"/>
                      <a:pt x="11586" y="36184"/>
                      <a:pt x="13395" y="39324"/>
                    </a:cubicBezTo>
                    <a:cubicBezTo>
                      <a:pt x="15055" y="42300"/>
                      <a:pt x="17478" y="44782"/>
                      <a:pt x="20424" y="46501"/>
                    </a:cubicBezTo>
                    <a:cubicBezTo>
                      <a:pt x="23594" y="48191"/>
                      <a:pt x="27138" y="49073"/>
                      <a:pt x="30742" y="49044"/>
                    </a:cubicBezTo>
                    <a:cubicBezTo>
                      <a:pt x="34285" y="49073"/>
                      <a:pt x="37785" y="48191"/>
                      <a:pt x="40910" y="4650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4592B2D0-7AA2-3F12-5719-7F6DFD507A47}"/>
                  </a:ext>
                </a:extLst>
              </p:cNvPr>
              <p:cNvSpPr/>
              <p:nvPr/>
            </p:nvSpPr>
            <p:spPr>
              <a:xfrm>
                <a:off x="4460516" y="3403127"/>
                <a:ext cx="62056" cy="56673"/>
              </a:xfrm>
              <a:custGeom>
                <a:avLst/>
                <a:gdLst>
                  <a:gd name="connsiteX0" fmla="*/ 52038 w 62056"/>
                  <a:gd name="connsiteY0" fmla="*/ 56673 h 56673"/>
                  <a:gd name="connsiteX1" fmla="*/ 52038 w 62056"/>
                  <a:gd name="connsiteY1" fmla="*/ 19140 h 56673"/>
                  <a:gd name="connsiteX2" fmla="*/ 33346 w 62056"/>
                  <a:gd name="connsiteY2" fmla="*/ 50244 h 56673"/>
                  <a:gd name="connsiteX3" fmla="*/ 28711 w 62056"/>
                  <a:gd name="connsiteY3" fmla="*/ 50244 h 56673"/>
                  <a:gd name="connsiteX4" fmla="*/ 10019 w 62056"/>
                  <a:gd name="connsiteY4" fmla="*/ 19589 h 56673"/>
                  <a:gd name="connsiteX5" fmla="*/ 10019 w 62056"/>
                  <a:gd name="connsiteY5" fmla="*/ 56673 h 56673"/>
                  <a:gd name="connsiteX6" fmla="*/ 0 w 62056"/>
                  <a:gd name="connsiteY6" fmla="*/ 56673 h 56673"/>
                  <a:gd name="connsiteX7" fmla="*/ 0 w 62056"/>
                  <a:gd name="connsiteY7" fmla="*/ 0 h 56673"/>
                  <a:gd name="connsiteX8" fmla="*/ 8673 w 62056"/>
                  <a:gd name="connsiteY8" fmla="*/ 0 h 56673"/>
                  <a:gd name="connsiteX9" fmla="*/ 31253 w 62056"/>
                  <a:gd name="connsiteY9" fmla="*/ 37533 h 56673"/>
                  <a:gd name="connsiteX10" fmla="*/ 53234 w 62056"/>
                  <a:gd name="connsiteY10" fmla="*/ 0 h 56673"/>
                  <a:gd name="connsiteX11" fmla="*/ 62057 w 62056"/>
                  <a:gd name="connsiteY11" fmla="*/ 0 h 56673"/>
                  <a:gd name="connsiteX12" fmla="*/ 62057 w 62056"/>
                  <a:gd name="connsiteY12" fmla="*/ 56673 h 56673"/>
                  <a:gd name="connsiteX13" fmla="*/ 52038 w 62056"/>
                  <a:gd name="connsiteY13" fmla="*/ 56673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056" h="56673">
                    <a:moveTo>
                      <a:pt x="52038" y="56673"/>
                    </a:moveTo>
                    <a:lnTo>
                      <a:pt x="52038" y="19140"/>
                    </a:lnTo>
                    <a:lnTo>
                      <a:pt x="33346" y="50244"/>
                    </a:lnTo>
                    <a:lnTo>
                      <a:pt x="28711" y="50244"/>
                    </a:lnTo>
                    <a:lnTo>
                      <a:pt x="10019" y="19589"/>
                    </a:lnTo>
                    <a:lnTo>
                      <a:pt x="10019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8673" y="0"/>
                    </a:lnTo>
                    <a:lnTo>
                      <a:pt x="31253" y="37533"/>
                    </a:lnTo>
                    <a:lnTo>
                      <a:pt x="53234" y="0"/>
                    </a:lnTo>
                    <a:lnTo>
                      <a:pt x="62057" y="0"/>
                    </a:lnTo>
                    <a:lnTo>
                      <a:pt x="62057" y="56673"/>
                    </a:lnTo>
                    <a:lnTo>
                      <a:pt x="52038" y="5667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992C4EE3-693E-7604-1396-E8B29AFACE9C}"/>
                  </a:ext>
                </a:extLst>
              </p:cNvPr>
              <p:cNvSpPr/>
              <p:nvPr/>
            </p:nvSpPr>
            <p:spPr>
              <a:xfrm>
                <a:off x="4564891" y="3403123"/>
                <a:ext cx="47414" cy="56827"/>
              </a:xfrm>
              <a:custGeom>
                <a:avLst/>
                <a:gdLst>
                  <a:gd name="connsiteX0" fmla="*/ 36187 w 47414"/>
                  <a:gd name="connsiteY0" fmla="*/ 2547 h 56827"/>
                  <a:gd name="connsiteX1" fmla="*/ 44561 w 47414"/>
                  <a:gd name="connsiteY1" fmla="*/ 9425 h 56827"/>
                  <a:gd name="connsiteX2" fmla="*/ 47402 w 47414"/>
                  <a:gd name="connsiteY2" fmla="*/ 20192 h 56827"/>
                  <a:gd name="connsiteX3" fmla="*/ 44561 w 47414"/>
                  <a:gd name="connsiteY3" fmla="*/ 30958 h 56827"/>
                  <a:gd name="connsiteX4" fmla="*/ 36187 w 47414"/>
                  <a:gd name="connsiteY4" fmla="*/ 37986 h 56827"/>
                  <a:gd name="connsiteX5" fmla="*/ 23327 w 47414"/>
                  <a:gd name="connsiteY5" fmla="*/ 40379 h 56827"/>
                  <a:gd name="connsiteX6" fmla="*/ 10467 w 47414"/>
                  <a:gd name="connsiteY6" fmla="*/ 40379 h 56827"/>
                  <a:gd name="connsiteX7" fmla="*/ 10467 w 47414"/>
                  <a:gd name="connsiteY7" fmla="*/ 56827 h 56827"/>
                  <a:gd name="connsiteX8" fmla="*/ 0 w 47414"/>
                  <a:gd name="connsiteY8" fmla="*/ 56827 h 56827"/>
                  <a:gd name="connsiteX9" fmla="*/ 0 w 47414"/>
                  <a:gd name="connsiteY9" fmla="*/ 4 h 56827"/>
                  <a:gd name="connsiteX10" fmla="*/ 23327 w 47414"/>
                  <a:gd name="connsiteY10" fmla="*/ 4 h 56827"/>
                  <a:gd name="connsiteX11" fmla="*/ 36187 w 47414"/>
                  <a:gd name="connsiteY11" fmla="*/ 2547 h 56827"/>
                  <a:gd name="connsiteX12" fmla="*/ 33197 w 47414"/>
                  <a:gd name="connsiteY12" fmla="*/ 28565 h 56827"/>
                  <a:gd name="connsiteX13" fmla="*/ 36785 w 47414"/>
                  <a:gd name="connsiteY13" fmla="*/ 20192 h 56827"/>
                  <a:gd name="connsiteX14" fmla="*/ 33197 w 47414"/>
                  <a:gd name="connsiteY14" fmla="*/ 11967 h 56827"/>
                  <a:gd name="connsiteX15" fmla="*/ 22729 w 47414"/>
                  <a:gd name="connsiteY15" fmla="*/ 8976 h 56827"/>
                  <a:gd name="connsiteX16" fmla="*/ 10467 w 47414"/>
                  <a:gd name="connsiteY16" fmla="*/ 8976 h 56827"/>
                  <a:gd name="connsiteX17" fmla="*/ 10467 w 47414"/>
                  <a:gd name="connsiteY17" fmla="*/ 31556 h 56827"/>
                  <a:gd name="connsiteX18" fmla="*/ 22729 w 47414"/>
                  <a:gd name="connsiteY18" fmla="*/ 31556 h 56827"/>
                  <a:gd name="connsiteX19" fmla="*/ 33197 w 47414"/>
                  <a:gd name="connsiteY19" fmla="*/ 28565 h 56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7414" h="56827">
                    <a:moveTo>
                      <a:pt x="36187" y="2547"/>
                    </a:moveTo>
                    <a:cubicBezTo>
                      <a:pt x="39582" y="3982"/>
                      <a:pt x="42498" y="6375"/>
                      <a:pt x="44561" y="9425"/>
                    </a:cubicBezTo>
                    <a:cubicBezTo>
                      <a:pt x="46505" y="12670"/>
                      <a:pt x="47492" y="16408"/>
                      <a:pt x="47402" y="20192"/>
                    </a:cubicBezTo>
                    <a:cubicBezTo>
                      <a:pt x="47537" y="23975"/>
                      <a:pt x="46550" y="27728"/>
                      <a:pt x="44561" y="30958"/>
                    </a:cubicBezTo>
                    <a:cubicBezTo>
                      <a:pt x="42542" y="34083"/>
                      <a:pt x="39627" y="36536"/>
                      <a:pt x="36187" y="37986"/>
                    </a:cubicBezTo>
                    <a:cubicBezTo>
                      <a:pt x="32120" y="39676"/>
                      <a:pt x="27739" y="40498"/>
                      <a:pt x="23327" y="40379"/>
                    </a:cubicBezTo>
                    <a:lnTo>
                      <a:pt x="10467" y="40379"/>
                    </a:lnTo>
                    <a:lnTo>
                      <a:pt x="10467" y="56827"/>
                    </a:lnTo>
                    <a:lnTo>
                      <a:pt x="0" y="56827"/>
                    </a:lnTo>
                    <a:lnTo>
                      <a:pt x="0" y="4"/>
                    </a:lnTo>
                    <a:lnTo>
                      <a:pt x="23327" y="4"/>
                    </a:lnTo>
                    <a:cubicBezTo>
                      <a:pt x="27739" y="-70"/>
                      <a:pt x="32135" y="797"/>
                      <a:pt x="36187" y="2547"/>
                    </a:cubicBezTo>
                    <a:moveTo>
                      <a:pt x="33197" y="28565"/>
                    </a:moveTo>
                    <a:cubicBezTo>
                      <a:pt x="35664" y="26517"/>
                      <a:pt x="36995" y="23392"/>
                      <a:pt x="36785" y="20192"/>
                    </a:cubicBezTo>
                    <a:cubicBezTo>
                      <a:pt x="36980" y="17036"/>
                      <a:pt x="35649" y="13971"/>
                      <a:pt x="33197" y="11967"/>
                    </a:cubicBezTo>
                    <a:cubicBezTo>
                      <a:pt x="30161" y="9784"/>
                      <a:pt x="26453" y="8737"/>
                      <a:pt x="22729" y="8976"/>
                    </a:cubicBezTo>
                    <a:lnTo>
                      <a:pt x="10467" y="8976"/>
                    </a:lnTo>
                    <a:lnTo>
                      <a:pt x="10467" y="31556"/>
                    </a:lnTo>
                    <a:lnTo>
                      <a:pt x="22729" y="31556"/>
                    </a:lnTo>
                    <a:cubicBezTo>
                      <a:pt x="26453" y="31795"/>
                      <a:pt x="30161" y="30749"/>
                      <a:pt x="33197" y="2856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2AE21737-A688-5DD9-4EFD-E1ABD1304624}"/>
                  </a:ext>
                </a:extLst>
              </p:cNvPr>
              <p:cNvSpPr/>
              <p:nvPr/>
            </p:nvSpPr>
            <p:spPr>
              <a:xfrm>
                <a:off x="4640854" y="3403127"/>
                <a:ext cx="48150" cy="56673"/>
              </a:xfrm>
              <a:custGeom>
                <a:avLst/>
                <a:gdLst>
                  <a:gd name="connsiteX0" fmla="*/ 18841 w 48150"/>
                  <a:gd name="connsiteY0" fmla="*/ 8822 h 56673"/>
                  <a:gd name="connsiteX1" fmla="*/ 0 w 48150"/>
                  <a:gd name="connsiteY1" fmla="*/ 8822 h 56673"/>
                  <a:gd name="connsiteX2" fmla="*/ 0 w 48150"/>
                  <a:gd name="connsiteY2" fmla="*/ 0 h 56673"/>
                  <a:gd name="connsiteX3" fmla="*/ 48150 w 48150"/>
                  <a:gd name="connsiteY3" fmla="*/ 0 h 56673"/>
                  <a:gd name="connsiteX4" fmla="*/ 48150 w 48150"/>
                  <a:gd name="connsiteY4" fmla="*/ 8822 h 56673"/>
                  <a:gd name="connsiteX5" fmla="*/ 29309 w 48150"/>
                  <a:gd name="connsiteY5" fmla="*/ 8822 h 56673"/>
                  <a:gd name="connsiteX6" fmla="*/ 29309 w 48150"/>
                  <a:gd name="connsiteY6" fmla="*/ 56673 h 56673"/>
                  <a:gd name="connsiteX7" fmla="*/ 18841 w 48150"/>
                  <a:gd name="connsiteY7" fmla="*/ 56673 h 56673"/>
                  <a:gd name="connsiteX8" fmla="*/ 18841 w 48150"/>
                  <a:gd name="connsiteY8" fmla="*/ 8822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673">
                    <a:moveTo>
                      <a:pt x="18841" y="8822"/>
                    </a:moveTo>
                    <a:lnTo>
                      <a:pt x="0" y="882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822"/>
                    </a:lnTo>
                    <a:lnTo>
                      <a:pt x="29309" y="8822"/>
                    </a:lnTo>
                    <a:lnTo>
                      <a:pt x="29309" y="56673"/>
                    </a:lnTo>
                    <a:lnTo>
                      <a:pt x="18841" y="56673"/>
                    </a:lnTo>
                    <a:lnTo>
                      <a:pt x="18841" y="882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8CB30403-5DFD-C312-F317-12FEA67102B8}"/>
                  </a:ext>
                </a:extLst>
              </p:cNvPr>
              <p:cNvSpPr/>
              <p:nvPr/>
            </p:nvSpPr>
            <p:spPr>
              <a:xfrm>
                <a:off x="4723846" y="3403127"/>
                <a:ext cx="42617" cy="56673"/>
              </a:xfrm>
              <a:custGeom>
                <a:avLst/>
                <a:gdLst>
                  <a:gd name="connsiteX0" fmla="*/ 42617 w 42617"/>
                  <a:gd name="connsiteY0" fmla="*/ 47851 h 56673"/>
                  <a:gd name="connsiteX1" fmla="*/ 42617 w 42617"/>
                  <a:gd name="connsiteY1" fmla="*/ 56673 h 56673"/>
                  <a:gd name="connsiteX2" fmla="*/ 0 w 42617"/>
                  <a:gd name="connsiteY2" fmla="*/ 56673 h 56673"/>
                  <a:gd name="connsiteX3" fmla="*/ 0 w 42617"/>
                  <a:gd name="connsiteY3" fmla="*/ 0 h 56673"/>
                  <a:gd name="connsiteX4" fmla="*/ 41421 w 42617"/>
                  <a:gd name="connsiteY4" fmla="*/ 0 h 56673"/>
                  <a:gd name="connsiteX5" fmla="*/ 41421 w 42617"/>
                  <a:gd name="connsiteY5" fmla="*/ 8822 h 56673"/>
                  <a:gd name="connsiteX6" fmla="*/ 10617 w 42617"/>
                  <a:gd name="connsiteY6" fmla="*/ 8822 h 56673"/>
                  <a:gd name="connsiteX7" fmla="*/ 10617 w 42617"/>
                  <a:gd name="connsiteY7" fmla="*/ 23477 h 56673"/>
                  <a:gd name="connsiteX8" fmla="*/ 37982 w 42617"/>
                  <a:gd name="connsiteY8" fmla="*/ 23477 h 56673"/>
                  <a:gd name="connsiteX9" fmla="*/ 37982 w 42617"/>
                  <a:gd name="connsiteY9" fmla="*/ 32150 h 56673"/>
                  <a:gd name="connsiteX10" fmla="*/ 10617 w 42617"/>
                  <a:gd name="connsiteY10" fmla="*/ 32150 h 56673"/>
                  <a:gd name="connsiteX11" fmla="*/ 10617 w 42617"/>
                  <a:gd name="connsiteY11" fmla="*/ 47851 h 56673"/>
                  <a:gd name="connsiteX12" fmla="*/ 42617 w 42617"/>
                  <a:gd name="connsiteY12" fmla="*/ 47851 h 5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673">
                    <a:moveTo>
                      <a:pt x="42617" y="47851"/>
                    </a:moveTo>
                    <a:lnTo>
                      <a:pt x="42617" y="56673"/>
                    </a:lnTo>
                    <a:lnTo>
                      <a:pt x="0" y="5667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2"/>
                    </a:lnTo>
                    <a:lnTo>
                      <a:pt x="10617" y="8822"/>
                    </a:lnTo>
                    <a:lnTo>
                      <a:pt x="10617" y="23477"/>
                    </a:lnTo>
                    <a:lnTo>
                      <a:pt x="37982" y="23477"/>
                    </a:lnTo>
                    <a:lnTo>
                      <a:pt x="37982" y="32150"/>
                    </a:lnTo>
                    <a:lnTo>
                      <a:pt x="10617" y="32150"/>
                    </a:lnTo>
                    <a:lnTo>
                      <a:pt x="10617" y="47851"/>
                    </a:lnTo>
                    <a:lnTo>
                      <a:pt x="42617" y="47851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151023F6-81AB-708F-C945-B272BDF5815B}"/>
                  </a:ext>
                </a:extLst>
              </p:cNvPr>
              <p:cNvSpPr/>
              <p:nvPr/>
            </p:nvSpPr>
            <p:spPr>
              <a:xfrm>
                <a:off x="4800257" y="3402218"/>
                <a:ext cx="45332" cy="58340"/>
              </a:xfrm>
              <a:custGeom>
                <a:avLst/>
                <a:gdLst>
                  <a:gd name="connsiteX0" fmla="*/ 9720 w 45332"/>
                  <a:gd name="connsiteY0" fmla="*/ 56536 h 58340"/>
                  <a:gd name="connsiteX1" fmla="*/ 0 w 45332"/>
                  <a:gd name="connsiteY1" fmla="*/ 51602 h 58340"/>
                  <a:gd name="connsiteX2" fmla="*/ 3738 w 45332"/>
                  <a:gd name="connsiteY2" fmla="*/ 43377 h 58340"/>
                  <a:gd name="connsiteX3" fmla="*/ 12262 w 45332"/>
                  <a:gd name="connsiteY3" fmla="*/ 47863 h 58340"/>
                  <a:gd name="connsiteX4" fmla="*/ 22430 w 45332"/>
                  <a:gd name="connsiteY4" fmla="*/ 49658 h 58340"/>
                  <a:gd name="connsiteX5" fmla="*/ 31851 w 45332"/>
                  <a:gd name="connsiteY5" fmla="*/ 47564 h 58340"/>
                  <a:gd name="connsiteX6" fmla="*/ 34991 w 45332"/>
                  <a:gd name="connsiteY6" fmla="*/ 42181 h 58340"/>
                  <a:gd name="connsiteX7" fmla="*/ 33197 w 45332"/>
                  <a:gd name="connsiteY7" fmla="*/ 38293 h 58340"/>
                  <a:gd name="connsiteX8" fmla="*/ 28860 w 45332"/>
                  <a:gd name="connsiteY8" fmla="*/ 35751 h 58340"/>
                  <a:gd name="connsiteX9" fmla="*/ 21533 w 45332"/>
                  <a:gd name="connsiteY9" fmla="*/ 33807 h 58340"/>
                  <a:gd name="connsiteX10" fmla="*/ 11065 w 45332"/>
                  <a:gd name="connsiteY10" fmla="*/ 30667 h 58340"/>
                  <a:gd name="connsiteX11" fmla="*/ 4187 w 45332"/>
                  <a:gd name="connsiteY11" fmla="*/ 25882 h 58340"/>
                  <a:gd name="connsiteX12" fmla="*/ 1346 w 45332"/>
                  <a:gd name="connsiteY12" fmla="*/ 16910 h 58340"/>
                  <a:gd name="connsiteX13" fmla="*/ 3888 w 45332"/>
                  <a:gd name="connsiteY13" fmla="*/ 8386 h 58340"/>
                  <a:gd name="connsiteX14" fmla="*/ 11514 w 45332"/>
                  <a:gd name="connsiteY14" fmla="*/ 2255 h 58340"/>
                  <a:gd name="connsiteX15" fmla="*/ 24075 w 45332"/>
                  <a:gd name="connsiteY15" fmla="*/ 12 h 58340"/>
                  <a:gd name="connsiteX16" fmla="*/ 34393 w 45332"/>
                  <a:gd name="connsiteY16" fmla="*/ 1358 h 58340"/>
                  <a:gd name="connsiteX17" fmla="*/ 43066 w 45332"/>
                  <a:gd name="connsiteY17" fmla="*/ 5096 h 58340"/>
                  <a:gd name="connsiteX18" fmla="*/ 39626 w 45332"/>
                  <a:gd name="connsiteY18" fmla="*/ 13171 h 58340"/>
                  <a:gd name="connsiteX19" fmla="*/ 31851 w 45332"/>
                  <a:gd name="connsiteY19" fmla="*/ 9881 h 58340"/>
                  <a:gd name="connsiteX20" fmla="*/ 24075 w 45332"/>
                  <a:gd name="connsiteY20" fmla="*/ 8835 h 58340"/>
                  <a:gd name="connsiteX21" fmla="*/ 14804 w 45332"/>
                  <a:gd name="connsiteY21" fmla="*/ 10928 h 58340"/>
                  <a:gd name="connsiteX22" fmla="*/ 11664 w 45332"/>
                  <a:gd name="connsiteY22" fmla="*/ 16461 h 58340"/>
                  <a:gd name="connsiteX23" fmla="*/ 13458 w 45332"/>
                  <a:gd name="connsiteY23" fmla="*/ 20498 h 58340"/>
                  <a:gd name="connsiteX24" fmla="*/ 17944 w 45332"/>
                  <a:gd name="connsiteY24" fmla="*/ 22891 h 58340"/>
                  <a:gd name="connsiteX25" fmla="*/ 25122 w 45332"/>
                  <a:gd name="connsiteY25" fmla="*/ 24835 h 58340"/>
                  <a:gd name="connsiteX26" fmla="*/ 35589 w 45332"/>
                  <a:gd name="connsiteY26" fmla="*/ 27975 h 58340"/>
                  <a:gd name="connsiteX27" fmla="*/ 42468 w 45332"/>
                  <a:gd name="connsiteY27" fmla="*/ 32760 h 58340"/>
                  <a:gd name="connsiteX28" fmla="*/ 45309 w 45332"/>
                  <a:gd name="connsiteY28" fmla="*/ 41583 h 58340"/>
                  <a:gd name="connsiteX29" fmla="*/ 42767 w 45332"/>
                  <a:gd name="connsiteY29" fmla="*/ 50106 h 58340"/>
                  <a:gd name="connsiteX30" fmla="*/ 35140 w 45332"/>
                  <a:gd name="connsiteY30" fmla="*/ 56088 h 58340"/>
                  <a:gd name="connsiteX31" fmla="*/ 22430 w 45332"/>
                  <a:gd name="connsiteY31" fmla="*/ 58331 h 58340"/>
                  <a:gd name="connsiteX32" fmla="*/ 9720 w 45332"/>
                  <a:gd name="connsiteY32" fmla="*/ 56536 h 58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5332" h="58340">
                    <a:moveTo>
                      <a:pt x="9720" y="56536"/>
                    </a:moveTo>
                    <a:cubicBezTo>
                      <a:pt x="6161" y="55594"/>
                      <a:pt x="2856" y="53919"/>
                      <a:pt x="0" y="51602"/>
                    </a:cubicBezTo>
                    <a:lnTo>
                      <a:pt x="3738" y="43377"/>
                    </a:lnTo>
                    <a:cubicBezTo>
                      <a:pt x="6310" y="45351"/>
                      <a:pt x="9181" y="46861"/>
                      <a:pt x="12262" y="47863"/>
                    </a:cubicBezTo>
                    <a:cubicBezTo>
                      <a:pt x="15522" y="49045"/>
                      <a:pt x="18961" y="49658"/>
                      <a:pt x="22430" y="49658"/>
                    </a:cubicBezTo>
                    <a:cubicBezTo>
                      <a:pt x="25705" y="49852"/>
                      <a:pt x="28965" y="49119"/>
                      <a:pt x="31851" y="47564"/>
                    </a:cubicBezTo>
                    <a:cubicBezTo>
                      <a:pt x="33795" y="46472"/>
                      <a:pt x="35006" y="44409"/>
                      <a:pt x="34991" y="42181"/>
                    </a:cubicBezTo>
                    <a:cubicBezTo>
                      <a:pt x="34991" y="40685"/>
                      <a:pt x="34333" y="39265"/>
                      <a:pt x="33197" y="38293"/>
                    </a:cubicBezTo>
                    <a:cubicBezTo>
                      <a:pt x="31970" y="37127"/>
                      <a:pt x="30475" y="36259"/>
                      <a:pt x="28860" y="35751"/>
                    </a:cubicBezTo>
                    <a:lnTo>
                      <a:pt x="21533" y="33807"/>
                    </a:lnTo>
                    <a:cubicBezTo>
                      <a:pt x="17974" y="32984"/>
                      <a:pt x="14475" y="31938"/>
                      <a:pt x="11065" y="30667"/>
                    </a:cubicBezTo>
                    <a:cubicBezTo>
                      <a:pt x="8434" y="29620"/>
                      <a:pt x="6086" y="27990"/>
                      <a:pt x="4187" y="25882"/>
                    </a:cubicBezTo>
                    <a:cubicBezTo>
                      <a:pt x="2168" y="23340"/>
                      <a:pt x="1151" y="20154"/>
                      <a:pt x="1346" y="16910"/>
                    </a:cubicBezTo>
                    <a:cubicBezTo>
                      <a:pt x="1316" y="13874"/>
                      <a:pt x="2198" y="10898"/>
                      <a:pt x="3888" y="8386"/>
                    </a:cubicBezTo>
                    <a:cubicBezTo>
                      <a:pt x="5757" y="5635"/>
                      <a:pt x="8419" y="3496"/>
                      <a:pt x="11514" y="2255"/>
                    </a:cubicBezTo>
                    <a:cubicBezTo>
                      <a:pt x="15506" y="655"/>
                      <a:pt x="19783" y="-107"/>
                      <a:pt x="24075" y="12"/>
                    </a:cubicBezTo>
                    <a:cubicBezTo>
                      <a:pt x="27559" y="12"/>
                      <a:pt x="31028" y="461"/>
                      <a:pt x="34393" y="1358"/>
                    </a:cubicBezTo>
                    <a:cubicBezTo>
                      <a:pt x="37458" y="2136"/>
                      <a:pt x="40389" y="3392"/>
                      <a:pt x="43066" y="5096"/>
                    </a:cubicBezTo>
                    <a:lnTo>
                      <a:pt x="39626" y="13171"/>
                    </a:lnTo>
                    <a:cubicBezTo>
                      <a:pt x="37174" y="11766"/>
                      <a:pt x="34557" y="10674"/>
                      <a:pt x="31851" y="9881"/>
                    </a:cubicBezTo>
                    <a:cubicBezTo>
                      <a:pt x="29324" y="9179"/>
                      <a:pt x="26707" y="8820"/>
                      <a:pt x="24075" y="8835"/>
                    </a:cubicBezTo>
                    <a:cubicBezTo>
                      <a:pt x="20845" y="8506"/>
                      <a:pt x="17585" y="9238"/>
                      <a:pt x="14804" y="10928"/>
                    </a:cubicBezTo>
                    <a:cubicBezTo>
                      <a:pt x="12860" y="12095"/>
                      <a:pt x="11664" y="14188"/>
                      <a:pt x="11664" y="16461"/>
                    </a:cubicBezTo>
                    <a:cubicBezTo>
                      <a:pt x="11619" y="18016"/>
                      <a:pt x="12277" y="19496"/>
                      <a:pt x="13458" y="20498"/>
                    </a:cubicBezTo>
                    <a:cubicBezTo>
                      <a:pt x="14774" y="21590"/>
                      <a:pt x="16299" y="22397"/>
                      <a:pt x="17944" y="22891"/>
                    </a:cubicBezTo>
                    <a:lnTo>
                      <a:pt x="25122" y="24835"/>
                    </a:lnTo>
                    <a:cubicBezTo>
                      <a:pt x="28681" y="25657"/>
                      <a:pt x="32180" y="26704"/>
                      <a:pt x="35589" y="27975"/>
                    </a:cubicBezTo>
                    <a:cubicBezTo>
                      <a:pt x="38221" y="29022"/>
                      <a:pt x="40569" y="30652"/>
                      <a:pt x="42468" y="32760"/>
                    </a:cubicBezTo>
                    <a:cubicBezTo>
                      <a:pt x="44486" y="35242"/>
                      <a:pt x="45503" y="38383"/>
                      <a:pt x="45309" y="41583"/>
                    </a:cubicBezTo>
                    <a:cubicBezTo>
                      <a:pt x="45339" y="44618"/>
                      <a:pt x="44456" y="47594"/>
                      <a:pt x="42767" y="50106"/>
                    </a:cubicBezTo>
                    <a:cubicBezTo>
                      <a:pt x="40883" y="52828"/>
                      <a:pt x="38221" y="54906"/>
                      <a:pt x="35140" y="56088"/>
                    </a:cubicBezTo>
                    <a:cubicBezTo>
                      <a:pt x="31088" y="57673"/>
                      <a:pt x="26767" y="58435"/>
                      <a:pt x="22430" y="58331"/>
                    </a:cubicBezTo>
                    <a:cubicBezTo>
                      <a:pt x="18123" y="58345"/>
                      <a:pt x="13847" y="57747"/>
                      <a:pt x="9720" y="56536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FBD4435C-38C9-AABA-4236-B6480747F235}"/>
                  </a:ext>
                </a:extLst>
              </p:cNvPr>
              <p:cNvSpPr/>
              <p:nvPr/>
            </p:nvSpPr>
            <p:spPr>
              <a:xfrm>
                <a:off x="2714705" y="3500324"/>
                <a:ext cx="42617" cy="56822"/>
              </a:xfrm>
              <a:custGeom>
                <a:avLst/>
                <a:gdLst>
                  <a:gd name="connsiteX0" fmla="*/ 42617 w 42617"/>
                  <a:gd name="connsiteY0" fmla="*/ 48000 h 56822"/>
                  <a:gd name="connsiteX1" fmla="*/ 42617 w 42617"/>
                  <a:gd name="connsiteY1" fmla="*/ 56823 h 56822"/>
                  <a:gd name="connsiteX2" fmla="*/ 0 w 42617"/>
                  <a:gd name="connsiteY2" fmla="*/ 56823 h 56822"/>
                  <a:gd name="connsiteX3" fmla="*/ 0 w 42617"/>
                  <a:gd name="connsiteY3" fmla="*/ 0 h 56822"/>
                  <a:gd name="connsiteX4" fmla="*/ 41421 w 42617"/>
                  <a:gd name="connsiteY4" fmla="*/ 0 h 56822"/>
                  <a:gd name="connsiteX5" fmla="*/ 41421 w 42617"/>
                  <a:gd name="connsiteY5" fmla="*/ 8822 h 56822"/>
                  <a:gd name="connsiteX6" fmla="*/ 10617 w 42617"/>
                  <a:gd name="connsiteY6" fmla="*/ 8822 h 56822"/>
                  <a:gd name="connsiteX7" fmla="*/ 10617 w 42617"/>
                  <a:gd name="connsiteY7" fmla="*/ 23626 h 56822"/>
                  <a:gd name="connsiteX8" fmla="*/ 37982 w 42617"/>
                  <a:gd name="connsiteY8" fmla="*/ 23626 h 56822"/>
                  <a:gd name="connsiteX9" fmla="*/ 37982 w 42617"/>
                  <a:gd name="connsiteY9" fmla="*/ 32299 h 56822"/>
                  <a:gd name="connsiteX10" fmla="*/ 10617 w 42617"/>
                  <a:gd name="connsiteY10" fmla="*/ 32299 h 56822"/>
                  <a:gd name="connsiteX11" fmla="*/ 10617 w 42617"/>
                  <a:gd name="connsiteY11" fmla="*/ 48000 h 56822"/>
                  <a:gd name="connsiteX12" fmla="*/ 42617 w 42617"/>
                  <a:gd name="connsiteY12" fmla="*/ 48000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17" h="56822">
                    <a:moveTo>
                      <a:pt x="42617" y="48000"/>
                    </a:moveTo>
                    <a:lnTo>
                      <a:pt x="42617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2"/>
                    </a:lnTo>
                    <a:lnTo>
                      <a:pt x="10617" y="8822"/>
                    </a:lnTo>
                    <a:lnTo>
                      <a:pt x="10617" y="23626"/>
                    </a:lnTo>
                    <a:lnTo>
                      <a:pt x="37982" y="23626"/>
                    </a:lnTo>
                    <a:lnTo>
                      <a:pt x="37982" y="32299"/>
                    </a:lnTo>
                    <a:lnTo>
                      <a:pt x="10617" y="32299"/>
                    </a:lnTo>
                    <a:lnTo>
                      <a:pt x="10617" y="48000"/>
                    </a:lnTo>
                    <a:lnTo>
                      <a:pt x="42617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BBBC96BD-5364-E472-2594-2F7E456076C1}"/>
                  </a:ext>
                </a:extLst>
              </p:cNvPr>
              <p:cNvSpPr/>
              <p:nvPr/>
            </p:nvSpPr>
            <p:spPr>
              <a:xfrm>
                <a:off x="2796650" y="3500324"/>
                <a:ext cx="48149" cy="56822"/>
              </a:xfrm>
              <a:custGeom>
                <a:avLst/>
                <a:gdLst>
                  <a:gd name="connsiteX0" fmla="*/ 18692 w 48149"/>
                  <a:gd name="connsiteY0" fmla="*/ 8972 h 56822"/>
                  <a:gd name="connsiteX1" fmla="*/ 0 w 48149"/>
                  <a:gd name="connsiteY1" fmla="*/ 8972 h 56822"/>
                  <a:gd name="connsiteX2" fmla="*/ 0 w 48149"/>
                  <a:gd name="connsiteY2" fmla="*/ 0 h 56822"/>
                  <a:gd name="connsiteX3" fmla="*/ 48150 w 48149"/>
                  <a:gd name="connsiteY3" fmla="*/ 0 h 56822"/>
                  <a:gd name="connsiteX4" fmla="*/ 48150 w 48149"/>
                  <a:gd name="connsiteY4" fmla="*/ 8972 h 56822"/>
                  <a:gd name="connsiteX5" fmla="*/ 29309 w 48149"/>
                  <a:gd name="connsiteY5" fmla="*/ 8972 h 56822"/>
                  <a:gd name="connsiteX6" fmla="*/ 29309 w 48149"/>
                  <a:gd name="connsiteY6" fmla="*/ 56823 h 56822"/>
                  <a:gd name="connsiteX7" fmla="*/ 18692 w 48149"/>
                  <a:gd name="connsiteY7" fmla="*/ 56823 h 56822"/>
                  <a:gd name="connsiteX8" fmla="*/ 18692 w 48149"/>
                  <a:gd name="connsiteY8" fmla="*/ 8972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49" h="56822">
                    <a:moveTo>
                      <a:pt x="18692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309" y="8972"/>
                    </a:lnTo>
                    <a:lnTo>
                      <a:pt x="29309" y="56823"/>
                    </a:lnTo>
                    <a:lnTo>
                      <a:pt x="18692" y="56823"/>
                    </a:lnTo>
                    <a:lnTo>
                      <a:pt x="18692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E1D42D5D-2406-83E9-465C-E6E9A1E169D1}"/>
                  </a:ext>
                </a:extLst>
              </p:cNvPr>
              <p:cNvSpPr/>
              <p:nvPr/>
            </p:nvSpPr>
            <p:spPr>
              <a:xfrm>
                <a:off x="2944838" y="3500318"/>
                <a:ext cx="55782" cy="56984"/>
              </a:xfrm>
              <a:custGeom>
                <a:avLst/>
                <a:gdLst>
                  <a:gd name="connsiteX0" fmla="*/ 0 w 55782"/>
                  <a:gd name="connsiteY0" fmla="*/ 6 h 56984"/>
                  <a:gd name="connsiteX1" fmla="*/ 24823 w 55782"/>
                  <a:gd name="connsiteY1" fmla="*/ 6 h 56984"/>
                  <a:gd name="connsiteX2" fmla="*/ 40823 w 55782"/>
                  <a:gd name="connsiteY2" fmla="*/ 3595 h 56984"/>
                  <a:gd name="connsiteX3" fmla="*/ 51888 w 55782"/>
                  <a:gd name="connsiteY3" fmla="*/ 13464 h 56984"/>
                  <a:gd name="connsiteX4" fmla="*/ 55776 w 55782"/>
                  <a:gd name="connsiteY4" fmla="*/ 28418 h 56984"/>
                  <a:gd name="connsiteX5" fmla="*/ 51888 w 55782"/>
                  <a:gd name="connsiteY5" fmla="*/ 43371 h 56984"/>
                  <a:gd name="connsiteX6" fmla="*/ 40823 w 55782"/>
                  <a:gd name="connsiteY6" fmla="*/ 53390 h 56984"/>
                  <a:gd name="connsiteX7" fmla="*/ 24823 w 55782"/>
                  <a:gd name="connsiteY7" fmla="*/ 56979 h 56984"/>
                  <a:gd name="connsiteX8" fmla="*/ 0 w 55782"/>
                  <a:gd name="connsiteY8" fmla="*/ 56979 h 56984"/>
                  <a:gd name="connsiteX9" fmla="*/ 24225 w 55782"/>
                  <a:gd name="connsiteY9" fmla="*/ 47857 h 56984"/>
                  <a:gd name="connsiteX10" fmla="*/ 35290 w 55782"/>
                  <a:gd name="connsiteY10" fmla="*/ 45465 h 56984"/>
                  <a:gd name="connsiteX11" fmla="*/ 42617 w 55782"/>
                  <a:gd name="connsiteY11" fmla="*/ 38586 h 56984"/>
                  <a:gd name="connsiteX12" fmla="*/ 45159 w 55782"/>
                  <a:gd name="connsiteY12" fmla="*/ 28418 h 56984"/>
                  <a:gd name="connsiteX13" fmla="*/ 42617 w 55782"/>
                  <a:gd name="connsiteY13" fmla="*/ 18100 h 56984"/>
                  <a:gd name="connsiteX14" fmla="*/ 35290 w 55782"/>
                  <a:gd name="connsiteY14" fmla="*/ 11371 h 56984"/>
                  <a:gd name="connsiteX15" fmla="*/ 24225 w 55782"/>
                  <a:gd name="connsiteY15" fmla="*/ 8978 h 56984"/>
                  <a:gd name="connsiteX16" fmla="*/ 10467 w 55782"/>
                  <a:gd name="connsiteY16" fmla="*/ 8978 h 56984"/>
                  <a:gd name="connsiteX17" fmla="*/ 10467 w 55782"/>
                  <a:gd name="connsiteY17" fmla="*/ 47857 h 56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782" h="56984">
                    <a:moveTo>
                      <a:pt x="0" y="6"/>
                    </a:moveTo>
                    <a:lnTo>
                      <a:pt x="24823" y="6"/>
                    </a:lnTo>
                    <a:cubicBezTo>
                      <a:pt x="30367" y="-99"/>
                      <a:pt x="35855" y="1128"/>
                      <a:pt x="40823" y="3595"/>
                    </a:cubicBezTo>
                    <a:cubicBezTo>
                      <a:pt x="45381" y="5763"/>
                      <a:pt x="49222" y="9188"/>
                      <a:pt x="51888" y="13464"/>
                    </a:cubicBezTo>
                    <a:cubicBezTo>
                      <a:pt x="54519" y="18010"/>
                      <a:pt x="55863" y="23169"/>
                      <a:pt x="55776" y="28418"/>
                    </a:cubicBezTo>
                    <a:cubicBezTo>
                      <a:pt x="55887" y="33666"/>
                      <a:pt x="54541" y="38840"/>
                      <a:pt x="51888" y="43371"/>
                    </a:cubicBezTo>
                    <a:cubicBezTo>
                      <a:pt x="49231" y="47693"/>
                      <a:pt x="45391" y="51177"/>
                      <a:pt x="40823" y="53390"/>
                    </a:cubicBezTo>
                    <a:cubicBezTo>
                      <a:pt x="35855" y="55857"/>
                      <a:pt x="30367" y="57083"/>
                      <a:pt x="24823" y="56979"/>
                    </a:cubicBezTo>
                    <a:lnTo>
                      <a:pt x="0" y="56979"/>
                    </a:lnTo>
                    <a:close/>
                    <a:moveTo>
                      <a:pt x="24225" y="47857"/>
                    </a:moveTo>
                    <a:cubicBezTo>
                      <a:pt x="28053" y="47962"/>
                      <a:pt x="31849" y="47154"/>
                      <a:pt x="35290" y="45465"/>
                    </a:cubicBezTo>
                    <a:cubicBezTo>
                      <a:pt x="38333" y="43909"/>
                      <a:pt x="40874" y="41532"/>
                      <a:pt x="42617" y="38586"/>
                    </a:cubicBezTo>
                    <a:cubicBezTo>
                      <a:pt x="44352" y="35476"/>
                      <a:pt x="45230" y="31977"/>
                      <a:pt x="45159" y="28418"/>
                    </a:cubicBezTo>
                    <a:cubicBezTo>
                      <a:pt x="45207" y="24814"/>
                      <a:pt x="44331" y="21270"/>
                      <a:pt x="42617" y="18100"/>
                    </a:cubicBezTo>
                    <a:cubicBezTo>
                      <a:pt x="40827" y="15229"/>
                      <a:pt x="38296" y="12911"/>
                      <a:pt x="35290" y="11371"/>
                    </a:cubicBezTo>
                    <a:cubicBezTo>
                      <a:pt x="31849" y="9681"/>
                      <a:pt x="28053" y="8873"/>
                      <a:pt x="24225" y="8978"/>
                    </a:cubicBezTo>
                    <a:lnTo>
                      <a:pt x="10467" y="8978"/>
                    </a:lnTo>
                    <a:lnTo>
                      <a:pt x="10467" y="47857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03015DCB-E9D2-2AD0-6A37-C7734022BAFB}"/>
                  </a:ext>
                </a:extLst>
              </p:cNvPr>
              <p:cNvSpPr/>
              <p:nvPr/>
            </p:nvSpPr>
            <p:spPr>
              <a:xfrm>
                <a:off x="3046671" y="3500324"/>
                <a:ext cx="42467" cy="56822"/>
              </a:xfrm>
              <a:custGeom>
                <a:avLst/>
                <a:gdLst>
                  <a:gd name="connsiteX0" fmla="*/ 42468 w 42467"/>
                  <a:gd name="connsiteY0" fmla="*/ 48000 h 56822"/>
                  <a:gd name="connsiteX1" fmla="*/ 42468 w 42467"/>
                  <a:gd name="connsiteY1" fmla="*/ 56823 h 56822"/>
                  <a:gd name="connsiteX2" fmla="*/ 0 w 42467"/>
                  <a:gd name="connsiteY2" fmla="*/ 56823 h 56822"/>
                  <a:gd name="connsiteX3" fmla="*/ 0 w 42467"/>
                  <a:gd name="connsiteY3" fmla="*/ 0 h 56822"/>
                  <a:gd name="connsiteX4" fmla="*/ 41421 w 42467"/>
                  <a:gd name="connsiteY4" fmla="*/ 0 h 56822"/>
                  <a:gd name="connsiteX5" fmla="*/ 41421 w 42467"/>
                  <a:gd name="connsiteY5" fmla="*/ 8822 h 56822"/>
                  <a:gd name="connsiteX6" fmla="*/ 10467 w 42467"/>
                  <a:gd name="connsiteY6" fmla="*/ 8822 h 56822"/>
                  <a:gd name="connsiteX7" fmla="*/ 10467 w 42467"/>
                  <a:gd name="connsiteY7" fmla="*/ 23626 h 56822"/>
                  <a:gd name="connsiteX8" fmla="*/ 37832 w 42467"/>
                  <a:gd name="connsiteY8" fmla="*/ 23626 h 56822"/>
                  <a:gd name="connsiteX9" fmla="*/ 37832 w 42467"/>
                  <a:gd name="connsiteY9" fmla="*/ 32299 h 56822"/>
                  <a:gd name="connsiteX10" fmla="*/ 10467 w 42467"/>
                  <a:gd name="connsiteY10" fmla="*/ 32299 h 56822"/>
                  <a:gd name="connsiteX11" fmla="*/ 10467 w 42467"/>
                  <a:gd name="connsiteY11" fmla="*/ 48000 h 56822"/>
                  <a:gd name="connsiteX12" fmla="*/ 42468 w 42467"/>
                  <a:gd name="connsiteY12" fmla="*/ 48000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467" h="56822">
                    <a:moveTo>
                      <a:pt x="42468" y="48000"/>
                    </a:moveTo>
                    <a:lnTo>
                      <a:pt x="42468" y="56823"/>
                    </a:lnTo>
                    <a:lnTo>
                      <a:pt x="0" y="56823"/>
                    </a:lnTo>
                    <a:lnTo>
                      <a:pt x="0" y="0"/>
                    </a:lnTo>
                    <a:lnTo>
                      <a:pt x="41421" y="0"/>
                    </a:lnTo>
                    <a:lnTo>
                      <a:pt x="41421" y="8822"/>
                    </a:lnTo>
                    <a:lnTo>
                      <a:pt x="10467" y="8822"/>
                    </a:lnTo>
                    <a:lnTo>
                      <a:pt x="10467" y="23626"/>
                    </a:lnTo>
                    <a:lnTo>
                      <a:pt x="37832" y="23626"/>
                    </a:lnTo>
                    <a:lnTo>
                      <a:pt x="37832" y="32299"/>
                    </a:lnTo>
                    <a:lnTo>
                      <a:pt x="10467" y="32299"/>
                    </a:lnTo>
                    <a:lnTo>
                      <a:pt x="10467" y="48000"/>
                    </a:lnTo>
                    <a:lnTo>
                      <a:pt x="42468" y="4800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91AE73AD-2142-646B-5257-D94E63F3890E}"/>
                  </a:ext>
                </a:extLst>
              </p:cNvPr>
              <p:cNvSpPr/>
              <p:nvPr/>
            </p:nvSpPr>
            <p:spPr>
              <a:xfrm>
                <a:off x="3193065" y="3500324"/>
                <a:ext cx="40224" cy="56822"/>
              </a:xfrm>
              <a:custGeom>
                <a:avLst/>
                <a:gdLst>
                  <a:gd name="connsiteX0" fmla="*/ 0 w 40224"/>
                  <a:gd name="connsiteY0" fmla="*/ 0 h 56822"/>
                  <a:gd name="connsiteX1" fmla="*/ 10467 w 40224"/>
                  <a:gd name="connsiteY1" fmla="*/ 0 h 56822"/>
                  <a:gd name="connsiteX2" fmla="*/ 10467 w 40224"/>
                  <a:gd name="connsiteY2" fmla="*/ 47851 h 56822"/>
                  <a:gd name="connsiteX3" fmla="*/ 40225 w 40224"/>
                  <a:gd name="connsiteY3" fmla="*/ 47851 h 56822"/>
                  <a:gd name="connsiteX4" fmla="*/ 40225 w 40224"/>
                  <a:gd name="connsiteY4" fmla="*/ 56823 h 56822"/>
                  <a:gd name="connsiteX5" fmla="*/ 0 w 40224"/>
                  <a:gd name="connsiteY5" fmla="*/ 56823 h 56822"/>
                  <a:gd name="connsiteX6" fmla="*/ 0 w 40224"/>
                  <a:gd name="connsiteY6" fmla="*/ 0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224" h="56822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47851"/>
                    </a:lnTo>
                    <a:lnTo>
                      <a:pt x="40225" y="47851"/>
                    </a:lnTo>
                    <a:lnTo>
                      <a:pt x="40225" y="56823"/>
                    </a:lnTo>
                    <a:lnTo>
                      <a:pt x="0" y="5682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E924475D-79EE-768F-0D86-15339E2A4540}"/>
                  </a:ext>
                </a:extLst>
              </p:cNvPr>
              <p:cNvSpPr/>
              <p:nvPr/>
            </p:nvSpPr>
            <p:spPr>
              <a:xfrm>
                <a:off x="3268871" y="3496433"/>
                <a:ext cx="12834" cy="25125"/>
              </a:xfrm>
              <a:custGeom>
                <a:avLst/>
                <a:gdLst>
                  <a:gd name="connsiteX0" fmla="*/ 10774 w 12834"/>
                  <a:gd name="connsiteY0" fmla="*/ 1798 h 25125"/>
                  <a:gd name="connsiteX1" fmla="*/ 12718 w 12834"/>
                  <a:gd name="connsiteY1" fmla="*/ 6583 h 25125"/>
                  <a:gd name="connsiteX2" fmla="*/ 12718 w 12834"/>
                  <a:gd name="connsiteY2" fmla="*/ 9424 h 25125"/>
                  <a:gd name="connsiteX3" fmla="*/ 11372 w 12834"/>
                  <a:gd name="connsiteY3" fmla="*/ 13611 h 25125"/>
                  <a:gd name="connsiteX4" fmla="*/ 7185 w 12834"/>
                  <a:gd name="connsiteY4" fmla="*/ 25126 h 25125"/>
                  <a:gd name="connsiteX5" fmla="*/ 606 w 12834"/>
                  <a:gd name="connsiteY5" fmla="*/ 25126 h 25125"/>
                  <a:gd name="connsiteX6" fmla="*/ 3746 w 12834"/>
                  <a:gd name="connsiteY6" fmla="*/ 12565 h 25125"/>
                  <a:gd name="connsiteX7" fmla="*/ 1054 w 12834"/>
                  <a:gd name="connsiteY7" fmla="*/ 10322 h 25125"/>
                  <a:gd name="connsiteX8" fmla="*/ 8 w 12834"/>
                  <a:gd name="connsiteY8" fmla="*/ 6583 h 25125"/>
                  <a:gd name="connsiteX9" fmla="*/ 1802 w 12834"/>
                  <a:gd name="connsiteY9" fmla="*/ 1798 h 25125"/>
                  <a:gd name="connsiteX10" fmla="*/ 6587 w 12834"/>
                  <a:gd name="connsiteY10" fmla="*/ 4 h 25125"/>
                  <a:gd name="connsiteX11" fmla="*/ 11223 w 12834"/>
                  <a:gd name="connsiteY11" fmla="*/ 1798 h 25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34" h="25125">
                    <a:moveTo>
                      <a:pt x="10774" y="1798"/>
                    </a:moveTo>
                    <a:cubicBezTo>
                      <a:pt x="12047" y="3054"/>
                      <a:pt x="12749" y="4789"/>
                      <a:pt x="12718" y="6583"/>
                    </a:cubicBezTo>
                    <a:cubicBezTo>
                      <a:pt x="12873" y="7525"/>
                      <a:pt x="12873" y="8482"/>
                      <a:pt x="12718" y="9424"/>
                    </a:cubicBezTo>
                    <a:cubicBezTo>
                      <a:pt x="12718" y="10322"/>
                      <a:pt x="12718" y="11667"/>
                      <a:pt x="11372" y="13611"/>
                    </a:cubicBezTo>
                    <a:lnTo>
                      <a:pt x="7185" y="25126"/>
                    </a:lnTo>
                    <a:lnTo>
                      <a:pt x="606" y="25126"/>
                    </a:lnTo>
                    <a:lnTo>
                      <a:pt x="3746" y="12565"/>
                    </a:lnTo>
                    <a:cubicBezTo>
                      <a:pt x="2611" y="12161"/>
                      <a:pt x="1657" y="11368"/>
                      <a:pt x="1054" y="10322"/>
                    </a:cubicBezTo>
                    <a:cubicBezTo>
                      <a:pt x="310" y="9215"/>
                      <a:pt x="-58" y="7914"/>
                      <a:pt x="8" y="6583"/>
                    </a:cubicBezTo>
                    <a:cubicBezTo>
                      <a:pt x="-64" y="4819"/>
                      <a:pt x="583" y="3084"/>
                      <a:pt x="1802" y="1798"/>
                    </a:cubicBezTo>
                    <a:cubicBezTo>
                      <a:pt x="3098" y="587"/>
                      <a:pt x="4818" y="-56"/>
                      <a:pt x="6587" y="4"/>
                    </a:cubicBezTo>
                    <a:cubicBezTo>
                      <a:pt x="8310" y="-41"/>
                      <a:pt x="9980" y="602"/>
                      <a:pt x="11223" y="1798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79873FC0-8DDE-4A42-614A-15FB263A2740}"/>
                  </a:ext>
                </a:extLst>
              </p:cNvPr>
              <p:cNvSpPr/>
              <p:nvPr/>
            </p:nvSpPr>
            <p:spPr>
              <a:xfrm>
                <a:off x="3316430" y="3500324"/>
                <a:ext cx="61458" cy="56822"/>
              </a:xfrm>
              <a:custGeom>
                <a:avLst/>
                <a:gdLst>
                  <a:gd name="connsiteX0" fmla="*/ 44860 w 61458"/>
                  <a:gd name="connsiteY0" fmla="*/ 43664 h 56822"/>
                  <a:gd name="connsiteX1" fmla="*/ 16449 w 61458"/>
                  <a:gd name="connsiteY1" fmla="*/ 43664 h 56822"/>
                  <a:gd name="connsiteX2" fmla="*/ 10766 w 61458"/>
                  <a:gd name="connsiteY2" fmla="*/ 56823 h 56822"/>
                  <a:gd name="connsiteX3" fmla="*/ 0 w 61458"/>
                  <a:gd name="connsiteY3" fmla="*/ 56823 h 56822"/>
                  <a:gd name="connsiteX4" fmla="*/ 25570 w 61458"/>
                  <a:gd name="connsiteY4" fmla="*/ 0 h 56822"/>
                  <a:gd name="connsiteX5" fmla="*/ 35888 w 61458"/>
                  <a:gd name="connsiteY5" fmla="*/ 0 h 56822"/>
                  <a:gd name="connsiteX6" fmla="*/ 61459 w 61458"/>
                  <a:gd name="connsiteY6" fmla="*/ 56823 h 56822"/>
                  <a:gd name="connsiteX7" fmla="*/ 50543 w 61458"/>
                  <a:gd name="connsiteY7" fmla="*/ 56823 h 56822"/>
                  <a:gd name="connsiteX8" fmla="*/ 41271 w 61458"/>
                  <a:gd name="connsiteY8" fmla="*/ 35440 h 56822"/>
                  <a:gd name="connsiteX9" fmla="*/ 30655 w 61458"/>
                  <a:gd name="connsiteY9" fmla="*/ 10019 h 56822"/>
                  <a:gd name="connsiteX10" fmla="*/ 20038 w 61458"/>
                  <a:gd name="connsiteY10" fmla="*/ 34842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458" h="56822">
                    <a:moveTo>
                      <a:pt x="44860" y="43664"/>
                    </a:moveTo>
                    <a:lnTo>
                      <a:pt x="16449" y="43664"/>
                    </a:lnTo>
                    <a:lnTo>
                      <a:pt x="10766" y="56823"/>
                    </a:lnTo>
                    <a:lnTo>
                      <a:pt x="0" y="56823"/>
                    </a:lnTo>
                    <a:lnTo>
                      <a:pt x="25570" y="0"/>
                    </a:lnTo>
                    <a:lnTo>
                      <a:pt x="35888" y="0"/>
                    </a:lnTo>
                    <a:lnTo>
                      <a:pt x="61459" y="56823"/>
                    </a:lnTo>
                    <a:lnTo>
                      <a:pt x="50543" y="56823"/>
                    </a:lnTo>
                    <a:close/>
                    <a:moveTo>
                      <a:pt x="41271" y="35440"/>
                    </a:moveTo>
                    <a:lnTo>
                      <a:pt x="30655" y="10019"/>
                    </a:lnTo>
                    <a:lnTo>
                      <a:pt x="20038" y="3484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29A078B5-D4FB-4F2D-0CA5-129BEF50286F}"/>
                  </a:ext>
                </a:extLst>
              </p:cNvPr>
              <p:cNvSpPr/>
              <p:nvPr/>
            </p:nvSpPr>
            <p:spPr>
              <a:xfrm>
                <a:off x="3418215" y="3500324"/>
                <a:ext cx="50638" cy="57551"/>
              </a:xfrm>
              <a:custGeom>
                <a:avLst/>
                <a:gdLst>
                  <a:gd name="connsiteX0" fmla="*/ 6628 w 50638"/>
                  <a:gd name="connsiteY0" fmla="*/ 50991 h 57551"/>
                  <a:gd name="connsiteX1" fmla="*/ 48 w 50638"/>
                  <a:gd name="connsiteY1" fmla="*/ 32000 h 57551"/>
                  <a:gd name="connsiteX2" fmla="*/ 48 w 50638"/>
                  <a:gd name="connsiteY2" fmla="*/ 0 h 57551"/>
                  <a:gd name="connsiteX3" fmla="*/ 10216 w 50638"/>
                  <a:gd name="connsiteY3" fmla="*/ 0 h 57551"/>
                  <a:gd name="connsiteX4" fmla="*/ 10216 w 50638"/>
                  <a:gd name="connsiteY4" fmla="*/ 31701 h 57551"/>
                  <a:gd name="connsiteX5" fmla="*/ 25170 w 50638"/>
                  <a:gd name="connsiteY5" fmla="*/ 48299 h 57551"/>
                  <a:gd name="connsiteX6" fmla="*/ 40123 w 50638"/>
                  <a:gd name="connsiteY6" fmla="*/ 31701 h 57551"/>
                  <a:gd name="connsiteX7" fmla="*/ 40123 w 50638"/>
                  <a:gd name="connsiteY7" fmla="*/ 0 h 57551"/>
                  <a:gd name="connsiteX8" fmla="*/ 50591 w 50638"/>
                  <a:gd name="connsiteY8" fmla="*/ 0 h 57551"/>
                  <a:gd name="connsiteX9" fmla="*/ 50591 w 50638"/>
                  <a:gd name="connsiteY9" fmla="*/ 32000 h 57551"/>
                  <a:gd name="connsiteX10" fmla="*/ 44011 w 50638"/>
                  <a:gd name="connsiteY10" fmla="*/ 50991 h 57551"/>
                  <a:gd name="connsiteX11" fmla="*/ 7375 w 50638"/>
                  <a:gd name="connsiteY11" fmla="*/ 50991 h 5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638" h="57551">
                    <a:moveTo>
                      <a:pt x="6628" y="50991"/>
                    </a:moveTo>
                    <a:cubicBezTo>
                      <a:pt x="1993" y="45787"/>
                      <a:pt x="-374" y="38954"/>
                      <a:pt x="48" y="32000"/>
                    </a:cubicBezTo>
                    <a:lnTo>
                      <a:pt x="48" y="0"/>
                    </a:lnTo>
                    <a:lnTo>
                      <a:pt x="10216" y="0"/>
                    </a:lnTo>
                    <a:lnTo>
                      <a:pt x="10216" y="31701"/>
                    </a:lnTo>
                    <a:cubicBezTo>
                      <a:pt x="10216" y="42767"/>
                      <a:pt x="15200" y="48299"/>
                      <a:pt x="25170" y="48299"/>
                    </a:cubicBezTo>
                    <a:cubicBezTo>
                      <a:pt x="35139" y="48299"/>
                      <a:pt x="40123" y="42767"/>
                      <a:pt x="40123" y="31701"/>
                    </a:cubicBezTo>
                    <a:lnTo>
                      <a:pt x="40123" y="0"/>
                    </a:lnTo>
                    <a:lnTo>
                      <a:pt x="50591" y="0"/>
                    </a:lnTo>
                    <a:lnTo>
                      <a:pt x="50591" y="32000"/>
                    </a:lnTo>
                    <a:cubicBezTo>
                      <a:pt x="51012" y="38954"/>
                      <a:pt x="48645" y="45787"/>
                      <a:pt x="44011" y="50991"/>
                    </a:cubicBezTo>
                    <a:cubicBezTo>
                      <a:pt x="33364" y="59739"/>
                      <a:pt x="18022" y="59739"/>
                      <a:pt x="7375" y="5099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6714A93C-1242-4DD6-1D8A-169335996209}"/>
                  </a:ext>
                </a:extLst>
              </p:cNvPr>
              <p:cNvSpPr/>
              <p:nvPr/>
            </p:nvSpPr>
            <p:spPr>
              <a:xfrm>
                <a:off x="3518152" y="3500316"/>
                <a:ext cx="55792" cy="56988"/>
              </a:xfrm>
              <a:custGeom>
                <a:avLst/>
                <a:gdLst>
                  <a:gd name="connsiteX0" fmla="*/ 0 w 55792"/>
                  <a:gd name="connsiteY0" fmla="*/ 8 h 56988"/>
                  <a:gd name="connsiteX1" fmla="*/ 24823 w 55792"/>
                  <a:gd name="connsiteY1" fmla="*/ 8 h 56988"/>
                  <a:gd name="connsiteX2" fmla="*/ 40972 w 55792"/>
                  <a:gd name="connsiteY2" fmla="*/ 3597 h 56988"/>
                  <a:gd name="connsiteX3" fmla="*/ 51888 w 55792"/>
                  <a:gd name="connsiteY3" fmla="*/ 13466 h 56988"/>
                  <a:gd name="connsiteX4" fmla="*/ 55776 w 55792"/>
                  <a:gd name="connsiteY4" fmla="*/ 28420 h 56988"/>
                  <a:gd name="connsiteX5" fmla="*/ 51888 w 55792"/>
                  <a:gd name="connsiteY5" fmla="*/ 43373 h 56988"/>
                  <a:gd name="connsiteX6" fmla="*/ 40972 w 55792"/>
                  <a:gd name="connsiteY6" fmla="*/ 53392 h 56988"/>
                  <a:gd name="connsiteX7" fmla="*/ 24823 w 55792"/>
                  <a:gd name="connsiteY7" fmla="*/ 56980 h 56988"/>
                  <a:gd name="connsiteX8" fmla="*/ 0 w 55792"/>
                  <a:gd name="connsiteY8" fmla="*/ 56980 h 56988"/>
                  <a:gd name="connsiteX9" fmla="*/ 24374 w 55792"/>
                  <a:gd name="connsiteY9" fmla="*/ 47859 h 56988"/>
                  <a:gd name="connsiteX10" fmla="*/ 35290 w 55792"/>
                  <a:gd name="connsiteY10" fmla="*/ 45466 h 56988"/>
                  <a:gd name="connsiteX11" fmla="*/ 42617 w 55792"/>
                  <a:gd name="connsiteY11" fmla="*/ 38588 h 56988"/>
                  <a:gd name="connsiteX12" fmla="*/ 45159 w 55792"/>
                  <a:gd name="connsiteY12" fmla="*/ 28420 h 56988"/>
                  <a:gd name="connsiteX13" fmla="*/ 42617 w 55792"/>
                  <a:gd name="connsiteY13" fmla="*/ 18102 h 56988"/>
                  <a:gd name="connsiteX14" fmla="*/ 35290 w 55792"/>
                  <a:gd name="connsiteY14" fmla="*/ 11373 h 56988"/>
                  <a:gd name="connsiteX15" fmla="*/ 24374 w 55792"/>
                  <a:gd name="connsiteY15" fmla="*/ 8980 h 56988"/>
                  <a:gd name="connsiteX16" fmla="*/ 10617 w 55792"/>
                  <a:gd name="connsiteY16" fmla="*/ 8980 h 56988"/>
                  <a:gd name="connsiteX17" fmla="*/ 10617 w 55792"/>
                  <a:gd name="connsiteY17" fmla="*/ 47859 h 5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792" h="56988">
                    <a:moveTo>
                      <a:pt x="0" y="8"/>
                    </a:moveTo>
                    <a:lnTo>
                      <a:pt x="24823" y="8"/>
                    </a:lnTo>
                    <a:cubicBezTo>
                      <a:pt x="30417" y="-112"/>
                      <a:pt x="35957" y="1115"/>
                      <a:pt x="40972" y="3597"/>
                    </a:cubicBezTo>
                    <a:cubicBezTo>
                      <a:pt x="45490" y="5765"/>
                      <a:pt x="49282" y="9189"/>
                      <a:pt x="51888" y="13466"/>
                    </a:cubicBezTo>
                    <a:cubicBezTo>
                      <a:pt x="54586" y="17982"/>
                      <a:pt x="55935" y="23171"/>
                      <a:pt x="55776" y="28420"/>
                    </a:cubicBezTo>
                    <a:cubicBezTo>
                      <a:pt x="55960" y="33683"/>
                      <a:pt x="54610" y="38872"/>
                      <a:pt x="51888" y="43373"/>
                    </a:cubicBezTo>
                    <a:cubicBezTo>
                      <a:pt x="49291" y="47694"/>
                      <a:pt x="45500" y="51179"/>
                      <a:pt x="40972" y="53392"/>
                    </a:cubicBezTo>
                    <a:cubicBezTo>
                      <a:pt x="35957" y="55874"/>
                      <a:pt x="30417" y="57100"/>
                      <a:pt x="24823" y="56980"/>
                    </a:cubicBezTo>
                    <a:lnTo>
                      <a:pt x="0" y="56980"/>
                    </a:lnTo>
                    <a:close/>
                    <a:moveTo>
                      <a:pt x="24374" y="47859"/>
                    </a:moveTo>
                    <a:cubicBezTo>
                      <a:pt x="28154" y="47964"/>
                      <a:pt x="31903" y="47141"/>
                      <a:pt x="35290" y="45466"/>
                    </a:cubicBezTo>
                    <a:cubicBezTo>
                      <a:pt x="38396" y="44001"/>
                      <a:pt x="40960" y="41593"/>
                      <a:pt x="42617" y="38588"/>
                    </a:cubicBezTo>
                    <a:cubicBezTo>
                      <a:pt x="44418" y="35507"/>
                      <a:pt x="45298" y="31978"/>
                      <a:pt x="45159" y="28420"/>
                    </a:cubicBezTo>
                    <a:cubicBezTo>
                      <a:pt x="45279" y="24816"/>
                      <a:pt x="44400" y="21242"/>
                      <a:pt x="42617" y="18102"/>
                    </a:cubicBezTo>
                    <a:cubicBezTo>
                      <a:pt x="40905" y="15171"/>
                      <a:pt x="38353" y="12823"/>
                      <a:pt x="35290" y="11373"/>
                    </a:cubicBezTo>
                    <a:cubicBezTo>
                      <a:pt x="31903" y="9698"/>
                      <a:pt x="28154" y="8875"/>
                      <a:pt x="24374" y="8980"/>
                    </a:cubicBezTo>
                    <a:lnTo>
                      <a:pt x="10617" y="8980"/>
                    </a:lnTo>
                    <a:lnTo>
                      <a:pt x="10617" y="47859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E1DD008C-54B4-0837-91B6-713D05B88C75}"/>
                  </a:ext>
                </a:extLst>
              </p:cNvPr>
              <p:cNvSpPr/>
              <p:nvPr/>
            </p:nvSpPr>
            <p:spPr>
              <a:xfrm>
                <a:off x="3619386" y="3500324"/>
                <a:ext cx="10467" cy="56823"/>
              </a:xfrm>
              <a:custGeom>
                <a:avLst/>
                <a:gdLst>
                  <a:gd name="connsiteX0" fmla="*/ 0 w 10467"/>
                  <a:gd name="connsiteY0" fmla="*/ 0 h 56823"/>
                  <a:gd name="connsiteX1" fmla="*/ 10467 w 10467"/>
                  <a:gd name="connsiteY1" fmla="*/ 0 h 56823"/>
                  <a:gd name="connsiteX2" fmla="*/ 10467 w 10467"/>
                  <a:gd name="connsiteY2" fmla="*/ 56823 h 56823"/>
                  <a:gd name="connsiteX3" fmla="*/ 0 w 10467"/>
                  <a:gd name="connsiteY3" fmla="*/ 56823 h 5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7" h="56823">
                    <a:moveTo>
                      <a:pt x="0" y="0"/>
                    </a:moveTo>
                    <a:lnTo>
                      <a:pt x="10467" y="0"/>
                    </a:lnTo>
                    <a:lnTo>
                      <a:pt x="10467" y="56823"/>
                    </a:lnTo>
                    <a:lnTo>
                      <a:pt x="0" y="56823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518B518E-EFCD-FBA4-2EF9-A8AE1FEE755D}"/>
                  </a:ext>
                </a:extLst>
              </p:cNvPr>
              <p:cNvSpPr/>
              <p:nvPr/>
            </p:nvSpPr>
            <p:spPr>
              <a:xfrm>
                <a:off x="3672770" y="3500324"/>
                <a:ext cx="48150" cy="56822"/>
              </a:xfrm>
              <a:custGeom>
                <a:avLst/>
                <a:gdLst>
                  <a:gd name="connsiteX0" fmla="*/ 18841 w 48150"/>
                  <a:gd name="connsiteY0" fmla="*/ 8972 h 56822"/>
                  <a:gd name="connsiteX1" fmla="*/ 0 w 48150"/>
                  <a:gd name="connsiteY1" fmla="*/ 8972 h 56822"/>
                  <a:gd name="connsiteX2" fmla="*/ 0 w 48150"/>
                  <a:gd name="connsiteY2" fmla="*/ 0 h 56822"/>
                  <a:gd name="connsiteX3" fmla="*/ 48150 w 48150"/>
                  <a:gd name="connsiteY3" fmla="*/ 0 h 56822"/>
                  <a:gd name="connsiteX4" fmla="*/ 48150 w 48150"/>
                  <a:gd name="connsiteY4" fmla="*/ 8972 h 56822"/>
                  <a:gd name="connsiteX5" fmla="*/ 29458 w 48150"/>
                  <a:gd name="connsiteY5" fmla="*/ 8972 h 56822"/>
                  <a:gd name="connsiteX6" fmla="*/ 29458 w 48150"/>
                  <a:gd name="connsiteY6" fmla="*/ 56823 h 56822"/>
                  <a:gd name="connsiteX7" fmla="*/ 18841 w 48150"/>
                  <a:gd name="connsiteY7" fmla="*/ 56823 h 56822"/>
                  <a:gd name="connsiteX8" fmla="*/ 18841 w 48150"/>
                  <a:gd name="connsiteY8" fmla="*/ 8972 h 5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150" h="56822">
                    <a:moveTo>
                      <a:pt x="18841" y="8972"/>
                    </a:moveTo>
                    <a:lnTo>
                      <a:pt x="0" y="8972"/>
                    </a:lnTo>
                    <a:lnTo>
                      <a:pt x="0" y="0"/>
                    </a:lnTo>
                    <a:lnTo>
                      <a:pt x="48150" y="0"/>
                    </a:lnTo>
                    <a:lnTo>
                      <a:pt x="48150" y="8972"/>
                    </a:lnTo>
                    <a:lnTo>
                      <a:pt x="29458" y="8972"/>
                    </a:lnTo>
                    <a:lnTo>
                      <a:pt x="29458" y="56823"/>
                    </a:lnTo>
                    <a:lnTo>
                      <a:pt x="18841" y="56823"/>
                    </a:lnTo>
                    <a:lnTo>
                      <a:pt x="18841" y="8972"/>
                    </a:lnTo>
                    <a:close/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6EED4BBC-4EB6-1552-6AFF-F984A958E9C4}"/>
                  </a:ext>
                </a:extLst>
              </p:cNvPr>
              <p:cNvSpPr/>
              <p:nvPr/>
            </p:nvSpPr>
            <p:spPr>
              <a:xfrm>
                <a:off x="2710677" y="2758913"/>
                <a:ext cx="343610" cy="330367"/>
              </a:xfrm>
              <a:custGeom>
                <a:avLst/>
                <a:gdLst>
                  <a:gd name="connsiteX0" fmla="*/ 83281 w 343610"/>
                  <a:gd name="connsiteY0" fmla="*/ 309258 h 330367"/>
                  <a:gd name="connsiteX1" fmla="*/ 21972 w 343610"/>
                  <a:gd name="connsiteY1" fmla="*/ 250341 h 330367"/>
                  <a:gd name="connsiteX2" fmla="*/ 21972 w 343610"/>
                  <a:gd name="connsiteY2" fmla="*/ 79723 h 330367"/>
                  <a:gd name="connsiteX3" fmla="*/ 83281 w 343610"/>
                  <a:gd name="connsiteY3" fmla="*/ 21255 h 330367"/>
                  <a:gd name="connsiteX4" fmla="*/ 171506 w 343610"/>
                  <a:gd name="connsiteY4" fmla="*/ 21 h 330367"/>
                  <a:gd name="connsiteX5" fmla="*/ 260180 w 343610"/>
                  <a:gd name="connsiteY5" fmla="*/ 21255 h 330367"/>
                  <a:gd name="connsiteX6" fmla="*/ 321489 w 343610"/>
                  <a:gd name="connsiteY6" fmla="*/ 79723 h 330367"/>
                  <a:gd name="connsiteX7" fmla="*/ 321489 w 343610"/>
                  <a:gd name="connsiteY7" fmla="*/ 250341 h 330367"/>
                  <a:gd name="connsiteX8" fmla="*/ 260180 w 343610"/>
                  <a:gd name="connsiteY8" fmla="*/ 309258 h 330367"/>
                  <a:gd name="connsiteX9" fmla="*/ 171506 w 343610"/>
                  <a:gd name="connsiteY9" fmla="*/ 330342 h 330367"/>
                  <a:gd name="connsiteX10" fmla="*/ 83281 w 343610"/>
                  <a:gd name="connsiteY10" fmla="*/ 309258 h 330367"/>
                  <a:gd name="connsiteX11" fmla="*/ 240292 w 343610"/>
                  <a:gd name="connsiteY11" fmla="*/ 237930 h 330367"/>
                  <a:gd name="connsiteX12" fmla="*/ 240292 w 343610"/>
                  <a:gd name="connsiteY12" fmla="*/ 91835 h 330367"/>
                  <a:gd name="connsiteX13" fmla="*/ 171506 w 343610"/>
                  <a:gd name="connsiteY13" fmla="*/ 63573 h 330367"/>
                  <a:gd name="connsiteX14" fmla="*/ 103019 w 343610"/>
                  <a:gd name="connsiteY14" fmla="*/ 91386 h 330367"/>
                  <a:gd name="connsiteX15" fmla="*/ 103019 w 343610"/>
                  <a:gd name="connsiteY15" fmla="*/ 237481 h 330367"/>
                  <a:gd name="connsiteX16" fmla="*/ 171506 w 343610"/>
                  <a:gd name="connsiteY16" fmla="*/ 265294 h 330367"/>
                  <a:gd name="connsiteX17" fmla="*/ 240292 w 343610"/>
                  <a:gd name="connsiteY17" fmla="*/ 237481 h 33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43610" h="330367">
                    <a:moveTo>
                      <a:pt x="83281" y="309258"/>
                    </a:moveTo>
                    <a:cubicBezTo>
                      <a:pt x="57749" y="295722"/>
                      <a:pt x="36513" y="275313"/>
                      <a:pt x="21972" y="250341"/>
                    </a:cubicBezTo>
                    <a:cubicBezTo>
                      <a:pt x="-7324" y="197242"/>
                      <a:pt x="-7324" y="132822"/>
                      <a:pt x="21972" y="79723"/>
                    </a:cubicBezTo>
                    <a:cubicBezTo>
                      <a:pt x="36622" y="54949"/>
                      <a:pt x="57841" y="34714"/>
                      <a:pt x="83281" y="21255"/>
                    </a:cubicBezTo>
                    <a:cubicBezTo>
                      <a:pt x="110450" y="6907"/>
                      <a:pt x="140784" y="-393"/>
                      <a:pt x="171506" y="21"/>
                    </a:cubicBezTo>
                    <a:cubicBezTo>
                      <a:pt x="202376" y="-443"/>
                      <a:pt x="232867" y="6857"/>
                      <a:pt x="260180" y="21255"/>
                    </a:cubicBezTo>
                    <a:cubicBezTo>
                      <a:pt x="285651" y="34669"/>
                      <a:pt x="306882" y="54915"/>
                      <a:pt x="321489" y="79723"/>
                    </a:cubicBezTo>
                    <a:cubicBezTo>
                      <a:pt x="350984" y="132771"/>
                      <a:pt x="350984" y="197292"/>
                      <a:pt x="321489" y="250341"/>
                    </a:cubicBezTo>
                    <a:cubicBezTo>
                      <a:pt x="306985" y="275343"/>
                      <a:pt x="285740" y="295761"/>
                      <a:pt x="260180" y="309258"/>
                    </a:cubicBezTo>
                    <a:cubicBezTo>
                      <a:pt x="232857" y="323608"/>
                      <a:pt x="202364" y="330858"/>
                      <a:pt x="171506" y="330342"/>
                    </a:cubicBezTo>
                    <a:cubicBezTo>
                      <a:pt x="140797" y="330802"/>
                      <a:pt x="110463" y="323553"/>
                      <a:pt x="83281" y="309258"/>
                    </a:cubicBezTo>
                    <a:moveTo>
                      <a:pt x="240292" y="237930"/>
                    </a:moveTo>
                    <a:cubicBezTo>
                      <a:pt x="276552" y="195981"/>
                      <a:pt x="276552" y="133784"/>
                      <a:pt x="240292" y="91835"/>
                    </a:cubicBezTo>
                    <a:cubicBezTo>
                      <a:pt x="222364" y="73151"/>
                      <a:pt x="197390" y="62889"/>
                      <a:pt x="171506" y="63573"/>
                    </a:cubicBezTo>
                    <a:cubicBezTo>
                      <a:pt x="145765" y="62707"/>
                      <a:pt x="120868" y="72819"/>
                      <a:pt x="103019" y="91386"/>
                    </a:cubicBezTo>
                    <a:cubicBezTo>
                      <a:pt x="67139" y="133476"/>
                      <a:pt x="67139" y="195392"/>
                      <a:pt x="103019" y="237481"/>
                    </a:cubicBezTo>
                    <a:cubicBezTo>
                      <a:pt x="120868" y="256049"/>
                      <a:pt x="145765" y="266160"/>
                      <a:pt x="171506" y="265294"/>
                    </a:cubicBezTo>
                    <a:cubicBezTo>
                      <a:pt x="197323" y="266095"/>
                      <a:pt x="222286" y="256001"/>
                      <a:pt x="240292" y="237481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19E887B2-8585-A0C7-0A49-6E3AB421EF89}"/>
                  </a:ext>
                </a:extLst>
              </p:cNvPr>
              <p:cNvSpPr/>
              <p:nvPr/>
            </p:nvSpPr>
            <p:spPr>
              <a:xfrm>
                <a:off x="3151494" y="2758895"/>
                <a:ext cx="537874" cy="326173"/>
              </a:xfrm>
              <a:custGeom>
                <a:avLst/>
                <a:gdLst>
                  <a:gd name="connsiteX0" fmla="*/ 502285 w 537874"/>
                  <a:gd name="connsiteY0" fmla="*/ 35479 h 326173"/>
                  <a:gd name="connsiteX1" fmla="*/ 537874 w 537874"/>
                  <a:gd name="connsiteY1" fmla="*/ 141349 h 326173"/>
                  <a:gd name="connsiteX2" fmla="*/ 537874 w 537874"/>
                  <a:gd name="connsiteY2" fmla="*/ 326173 h 326173"/>
                  <a:gd name="connsiteX3" fmla="*/ 463107 w 537874"/>
                  <a:gd name="connsiteY3" fmla="*/ 326173 h 326173"/>
                  <a:gd name="connsiteX4" fmla="*/ 463107 w 537874"/>
                  <a:gd name="connsiteY4" fmla="*/ 151068 h 326173"/>
                  <a:gd name="connsiteX5" fmla="*/ 444415 w 537874"/>
                  <a:gd name="connsiteY5" fmla="*/ 87367 h 326173"/>
                  <a:gd name="connsiteX6" fmla="*/ 390583 w 537874"/>
                  <a:gd name="connsiteY6" fmla="*/ 65984 h 326173"/>
                  <a:gd name="connsiteX7" fmla="*/ 329573 w 537874"/>
                  <a:gd name="connsiteY7" fmla="*/ 90956 h 326173"/>
                  <a:gd name="connsiteX8" fmla="*/ 306844 w 537874"/>
                  <a:gd name="connsiteY8" fmla="*/ 162583 h 326173"/>
                  <a:gd name="connsiteX9" fmla="*/ 306844 w 537874"/>
                  <a:gd name="connsiteY9" fmla="*/ 326173 h 326173"/>
                  <a:gd name="connsiteX10" fmla="*/ 230582 w 537874"/>
                  <a:gd name="connsiteY10" fmla="*/ 326173 h 326173"/>
                  <a:gd name="connsiteX11" fmla="*/ 230582 w 537874"/>
                  <a:gd name="connsiteY11" fmla="*/ 151068 h 326173"/>
                  <a:gd name="connsiteX12" fmla="*/ 211890 w 537874"/>
                  <a:gd name="connsiteY12" fmla="*/ 87367 h 326173"/>
                  <a:gd name="connsiteX13" fmla="*/ 158207 w 537874"/>
                  <a:gd name="connsiteY13" fmla="*/ 65984 h 326173"/>
                  <a:gd name="connsiteX14" fmla="*/ 97496 w 537874"/>
                  <a:gd name="connsiteY14" fmla="*/ 90657 h 326173"/>
                  <a:gd name="connsiteX15" fmla="*/ 74767 w 537874"/>
                  <a:gd name="connsiteY15" fmla="*/ 162583 h 326173"/>
                  <a:gd name="connsiteX16" fmla="*/ 74767 w 537874"/>
                  <a:gd name="connsiteY16" fmla="*/ 326173 h 326173"/>
                  <a:gd name="connsiteX17" fmla="*/ 0 w 537874"/>
                  <a:gd name="connsiteY17" fmla="*/ 326173 h 326173"/>
                  <a:gd name="connsiteX18" fmla="*/ 0 w 537874"/>
                  <a:gd name="connsiteY18" fmla="*/ 3777 h 326173"/>
                  <a:gd name="connsiteX19" fmla="*/ 71776 w 537874"/>
                  <a:gd name="connsiteY19" fmla="*/ 3777 h 326173"/>
                  <a:gd name="connsiteX20" fmla="*/ 71776 w 537874"/>
                  <a:gd name="connsiteY20" fmla="*/ 44750 h 326173"/>
                  <a:gd name="connsiteX21" fmla="*/ 116637 w 537874"/>
                  <a:gd name="connsiteY21" fmla="*/ 11553 h 326173"/>
                  <a:gd name="connsiteX22" fmla="*/ 176450 w 537874"/>
                  <a:gd name="connsiteY22" fmla="*/ 188 h 326173"/>
                  <a:gd name="connsiteX23" fmla="*/ 240750 w 537874"/>
                  <a:gd name="connsiteY23" fmla="*/ 13647 h 326173"/>
                  <a:gd name="connsiteX24" fmla="*/ 285610 w 537874"/>
                  <a:gd name="connsiteY24" fmla="*/ 53871 h 326173"/>
                  <a:gd name="connsiteX25" fmla="*/ 336751 w 537874"/>
                  <a:gd name="connsiteY25" fmla="*/ 14245 h 326173"/>
                  <a:gd name="connsiteX26" fmla="*/ 406135 w 537874"/>
                  <a:gd name="connsiteY26" fmla="*/ 188 h 326173"/>
                  <a:gd name="connsiteX27" fmla="*/ 502734 w 537874"/>
                  <a:gd name="connsiteY27" fmla="*/ 35479 h 326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37874" h="326173">
                    <a:moveTo>
                      <a:pt x="502285" y="35479"/>
                    </a:moveTo>
                    <a:cubicBezTo>
                      <a:pt x="526012" y="58906"/>
                      <a:pt x="537874" y="94196"/>
                      <a:pt x="537874" y="141349"/>
                    </a:cubicBezTo>
                    <a:lnTo>
                      <a:pt x="537874" y="326173"/>
                    </a:lnTo>
                    <a:lnTo>
                      <a:pt x="463107" y="326173"/>
                    </a:lnTo>
                    <a:lnTo>
                      <a:pt x="463107" y="151068"/>
                    </a:lnTo>
                    <a:cubicBezTo>
                      <a:pt x="464745" y="128278"/>
                      <a:pt x="458108" y="105659"/>
                      <a:pt x="444415" y="87367"/>
                    </a:cubicBezTo>
                    <a:cubicBezTo>
                      <a:pt x="430589" y="72521"/>
                      <a:pt x="410827" y="64672"/>
                      <a:pt x="390583" y="65984"/>
                    </a:cubicBezTo>
                    <a:cubicBezTo>
                      <a:pt x="367589" y="65073"/>
                      <a:pt x="345330" y="74184"/>
                      <a:pt x="329573" y="90956"/>
                    </a:cubicBezTo>
                    <a:cubicBezTo>
                      <a:pt x="313210" y="111097"/>
                      <a:pt x="305087" y="136691"/>
                      <a:pt x="306844" y="162583"/>
                    </a:cubicBezTo>
                    <a:lnTo>
                      <a:pt x="306844" y="326173"/>
                    </a:lnTo>
                    <a:lnTo>
                      <a:pt x="230582" y="326173"/>
                    </a:lnTo>
                    <a:lnTo>
                      <a:pt x="230582" y="151068"/>
                    </a:lnTo>
                    <a:cubicBezTo>
                      <a:pt x="232219" y="128278"/>
                      <a:pt x="225583" y="105659"/>
                      <a:pt x="211890" y="87367"/>
                    </a:cubicBezTo>
                    <a:cubicBezTo>
                      <a:pt x="198122" y="72527"/>
                      <a:pt x="178406" y="64674"/>
                      <a:pt x="158207" y="65984"/>
                    </a:cubicBezTo>
                    <a:cubicBezTo>
                      <a:pt x="135351" y="65025"/>
                      <a:pt x="113203" y="74025"/>
                      <a:pt x="97496" y="90657"/>
                    </a:cubicBezTo>
                    <a:cubicBezTo>
                      <a:pt x="81113" y="110904"/>
                      <a:pt x="72994" y="136598"/>
                      <a:pt x="74767" y="162583"/>
                    </a:cubicBezTo>
                    <a:lnTo>
                      <a:pt x="74767" y="326173"/>
                    </a:lnTo>
                    <a:lnTo>
                      <a:pt x="0" y="326173"/>
                    </a:lnTo>
                    <a:lnTo>
                      <a:pt x="0" y="3777"/>
                    </a:lnTo>
                    <a:lnTo>
                      <a:pt x="71776" y="3777"/>
                    </a:lnTo>
                    <a:lnTo>
                      <a:pt x="71776" y="44750"/>
                    </a:lnTo>
                    <a:cubicBezTo>
                      <a:pt x="83848" y="30243"/>
                      <a:pt x="99235" y="18856"/>
                      <a:pt x="116637" y="11553"/>
                    </a:cubicBezTo>
                    <a:cubicBezTo>
                      <a:pt x="135621" y="3827"/>
                      <a:pt x="155955" y="-37"/>
                      <a:pt x="176450" y="188"/>
                    </a:cubicBezTo>
                    <a:cubicBezTo>
                      <a:pt x="198623" y="-229"/>
                      <a:pt x="220605" y="4372"/>
                      <a:pt x="240750" y="13647"/>
                    </a:cubicBezTo>
                    <a:cubicBezTo>
                      <a:pt x="259322" y="22367"/>
                      <a:pt x="274923" y="36356"/>
                      <a:pt x="285610" y="53871"/>
                    </a:cubicBezTo>
                    <a:cubicBezTo>
                      <a:pt x="299182" y="36700"/>
                      <a:pt x="316736" y="23099"/>
                      <a:pt x="336751" y="14245"/>
                    </a:cubicBezTo>
                    <a:cubicBezTo>
                      <a:pt x="358611" y="4664"/>
                      <a:pt x="382269" y="-129"/>
                      <a:pt x="406135" y="188"/>
                    </a:cubicBezTo>
                    <a:cubicBezTo>
                      <a:pt x="441802" y="-1727"/>
                      <a:pt x="476701" y="11024"/>
                      <a:pt x="502734" y="35479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81135E9F-B070-ACED-0D67-22E606498FE5}"/>
                  </a:ext>
                </a:extLst>
              </p:cNvPr>
              <p:cNvSpPr/>
              <p:nvPr/>
            </p:nvSpPr>
            <p:spPr>
              <a:xfrm>
                <a:off x="3786418" y="2759803"/>
                <a:ext cx="329909" cy="330202"/>
              </a:xfrm>
              <a:custGeom>
                <a:avLst/>
                <a:gdLst>
                  <a:gd name="connsiteX0" fmla="*/ 328076 w 329909"/>
                  <a:gd name="connsiteY0" fmla="*/ 188142 h 330202"/>
                  <a:gd name="connsiteX1" fmla="*/ 75663 w 329909"/>
                  <a:gd name="connsiteY1" fmla="*/ 188142 h 330202"/>
                  <a:gd name="connsiteX2" fmla="*/ 110355 w 329909"/>
                  <a:gd name="connsiteY2" fmla="*/ 244666 h 330202"/>
                  <a:gd name="connsiteX3" fmla="*/ 180337 w 329909"/>
                  <a:gd name="connsiteY3" fmla="*/ 265451 h 330202"/>
                  <a:gd name="connsiteX4" fmla="*/ 267814 w 329909"/>
                  <a:gd name="connsiteY4" fmla="*/ 230460 h 330202"/>
                  <a:gd name="connsiteX5" fmla="*/ 308338 w 329909"/>
                  <a:gd name="connsiteY5" fmla="*/ 276965 h 330202"/>
                  <a:gd name="connsiteX6" fmla="*/ 252562 w 329909"/>
                  <a:gd name="connsiteY6" fmla="*/ 316891 h 330202"/>
                  <a:gd name="connsiteX7" fmla="*/ 84186 w 329909"/>
                  <a:gd name="connsiteY7" fmla="*/ 309115 h 330202"/>
                  <a:gd name="connsiteX8" fmla="*/ 21681 w 329909"/>
                  <a:gd name="connsiteY8" fmla="*/ 250199 h 330202"/>
                  <a:gd name="connsiteX9" fmla="*/ 21681 w 329909"/>
                  <a:gd name="connsiteY9" fmla="*/ 80029 h 330202"/>
                  <a:gd name="connsiteX10" fmla="*/ 81495 w 329909"/>
                  <a:gd name="connsiteY10" fmla="*/ 21112 h 330202"/>
                  <a:gd name="connsiteX11" fmla="*/ 167178 w 329909"/>
                  <a:gd name="connsiteY11" fmla="*/ 28 h 330202"/>
                  <a:gd name="connsiteX12" fmla="*/ 251365 w 329909"/>
                  <a:gd name="connsiteY12" fmla="*/ 20813 h 330202"/>
                  <a:gd name="connsiteX13" fmla="*/ 309385 w 329909"/>
                  <a:gd name="connsiteY13" fmla="*/ 79431 h 330202"/>
                  <a:gd name="connsiteX14" fmla="*/ 329871 w 329909"/>
                  <a:gd name="connsiteY14" fmla="*/ 165861 h 330202"/>
                  <a:gd name="connsiteX15" fmla="*/ 328674 w 329909"/>
                  <a:gd name="connsiteY15" fmla="*/ 188142 h 330202"/>
                  <a:gd name="connsiteX16" fmla="*/ 105570 w 329909"/>
                  <a:gd name="connsiteY16" fmla="*/ 81075 h 330202"/>
                  <a:gd name="connsiteX17" fmla="*/ 75663 w 329909"/>
                  <a:gd name="connsiteY17" fmla="*/ 138048 h 330202"/>
                  <a:gd name="connsiteX18" fmla="*/ 257496 w 329909"/>
                  <a:gd name="connsiteY18" fmla="*/ 138048 h 330202"/>
                  <a:gd name="connsiteX19" fmla="*/ 166280 w 329909"/>
                  <a:gd name="connsiteY19" fmla="*/ 59542 h 330202"/>
                  <a:gd name="connsiteX20" fmla="*/ 105570 w 329909"/>
                  <a:gd name="connsiteY20" fmla="*/ 81075 h 330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29909" h="330202">
                    <a:moveTo>
                      <a:pt x="328076" y="188142"/>
                    </a:moveTo>
                    <a:lnTo>
                      <a:pt x="75663" y="188142"/>
                    </a:lnTo>
                    <a:cubicBezTo>
                      <a:pt x="79420" y="210784"/>
                      <a:pt x="91868" y="231064"/>
                      <a:pt x="110355" y="244666"/>
                    </a:cubicBezTo>
                    <a:cubicBezTo>
                      <a:pt x="130777" y="259072"/>
                      <a:pt x="155363" y="266374"/>
                      <a:pt x="180337" y="265451"/>
                    </a:cubicBezTo>
                    <a:cubicBezTo>
                      <a:pt x="213106" y="266532"/>
                      <a:pt x="244831" y="253843"/>
                      <a:pt x="267814" y="230460"/>
                    </a:cubicBezTo>
                    <a:lnTo>
                      <a:pt x="308338" y="276965"/>
                    </a:lnTo>
                    <a:cubicBezTo>
                      <a:pt x="293465" y="294823"/>
                      <a:pt x="274260" y="308569"/>
                      <a:pt x="252562" y="316891"/>
                    </a:cubicBezTo>
                    <a:cubicBezTo>
                      <a:pt x="197672" y="337027"/>
                      <a:pt x="136987" y="334225"/>
                      <a:pt x="84186" y="309115"/>
                    </a:cubicBezTo>
                    <a:cubicBezTo>
                      <a:pt x="58103" y="295919"/>
                      <a:pt x="36395" y="275456"/>
                      <a:pt x="21681" y="250199"/>
                    </a:cubicBezTo>
                    <a:cubicBezTo>
                      <a:pt x="-7227" y="197159"/>
                      <a:pt x="-7227" y="133068"/>
                      <a:pt x="21681" y="80029"/>
                    </a:cubicBezTo>
                    <a:cubicBezTo>
                      <a:pt x="35624" y="55112"/>
                      <a:pt x="56370" y="34676"/>
                      <a:pt x="81495" y="21112"/>
                    </a:cubicBezTo>
                    <a:cubicBezTo>
                      <a:pt x="107757" y="6809"/>
                      <a:pt x="137275" y="-454"/>
                      <a:pt x="167178" y="28"/>
                    </a:cubicBezTo>
                    <a:cubicBezTo>
                      <a:pt x="196573" y="-506"/>
                      <a:pt x="225596" y="6660"/>
                      <a:pt x="251365" y="20813"/>
                    </a:cubicBezTo>
                    <a:cubicBezTo>
                      <a:pt x="275908" y="34409"/>
                      <a:pt x="296042" y="54750"/>
                      <a:pt x="309385" y="79431"/>
                    </a:cubicBezTo>
                    <a:cubicBezTo>
                      <a:pt x="323453" y="106030"/>
                      <a:pt x="330503" y="135778"/>
                      <a:pt x="329871" y="165861"/>
                    </a:cubicBezTo>
                    <a:cubicBezTo>
                      <a:pt x="329871" y="171095"/>
                      <a:pt x="329871" y="178572"/>
                      <a:pt x="328674" y="188142"/>
                    </a:cubicBezTo>
                    <a:moveTo>
                      <a:pt x="105570" y="81075"/>
                    </a:moveTo>
                    <a:cubicBezTo>
                      <a:pt x="88900" y="95715"/>
                      <a:pt x="78245" y="116013"/>
                      <a:pt x="75663" y="138048"/>
                    </a:cubicBezTo>
                    <a:lnTo>
                      <a:pt x="257496" y="138048"/>
                    </a:lnTo>
                    <a:cubicBezTo>
                      <a:pt x="252358" y="92021"/>
                      <a:pt x="212560" y="57768"/>
                      <a:pt x="166280" y="59542"/>
                    </a:cubicBezTo>
                    <a:cubicBezTo>
                      <a:pt x="144091" y="59056"/>
                      <a:pt x="122494" y="66717"/>
                      <a:pt x="105570" y="8107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EE9AAB53-6699-150F-A1B3-C88F87B981C8}"/>
                  </a:ext>
                </a:extLst>
              </p:cNvPr>
              <p:cNvSpPr/>
              <p:nvPr/>
            </p:nvSpPr>
            <p:spPr>
              <a:xfrm>
                <a:off x="4185076" y="2759044"/>
                <a:ext cx="313271" cy="329943"/>
              </a:xfrm>
              <a:custGeom>
                <a:avLst/>
                <a:gdLst>
                  <a:gd name="connsiteX0" fmla="*/ 84634 w 313271"/>
                  <a:gd name="connsiteY0" fmla="*/ 309127 h 329943"/>
                  <a:gd name="connsiteX1" fmla="*/ 22428 w 313271"/>
                  <a:gd name="connsiteY1" fmla="*/ 250210 h 329943"/>
                  <a:gd name="connsiteX2" fmla="*/ 22428 w 313271"/>
                  <a:gd name="connsiteY2" fmla="*/ 79592 h 329943"/>
                  <a:gd name="connsiteX3" fmla="*/ 84335 w 313271"/>
                  <a:gd name="connsiteY3" fmla="*/ 21124 h 329943"/>
                  <a:gd name="connsiteX4" fmla="*/ 174055 w 313271"/>
                  <a:gd name="connsiteY4" fmla="*/ 40 h 329943"/>
                  <a:gd name="connsiteX5" fmla="*/ 257645 w 313271"/>
                  <a:gd name="connsiteY5" fmla="*/ 19330 h 329943"/>
                  <a:gd name="connsiteX6" fmla="*/ 311627 w 313271"/>
                  <a:gd name="connsiteY6" fmla="*/ 74807 h 329943"/>
                  <a:gd name="connsiteX7" fmla="*/ 254206 w 313271"/>
                  <a:gd name="connsiteY7" fmla="*/ 108302 h 329943"/>
                  <a:gd name="connsiteX8" fmla="*/ 219514 w 313271"/>
                  <a:gd name="connsiteY8" fmla="*/ 74807 h 329943"/>
                  <a:gd name="connsiteX9" fmla="*/ 174654 w 313271"/>
                  <a:gd name="connsiteY9" fmla="*/ 63741 h 329943"/>
                  <a:gd name="connsiteX10" fmla="*/ 104672 w 313271"/>
                  <a:gd name="connsiteY10" fmla="*/ 91106 h 329943"/>
                  <a:gd name="connsiteX11" fmla="*/ 104672 w 313271"/>
                  <a:gd name="connsiteY11" fmla="*/ 237799 h 329943"/>
                  <a:gd name="connsiteX12" fmla="*/ 220561 w 313271"/>
                  <a:gd name="connsiteY12" fmla="*/ 254098 h 329943"/>
                  <a:gd name="connsiteX13" fmla="*/ 255253 w 313271"/>
                  <a:gd name="connsiteY13" fmla="*/ 220603 h 329943"/>
                  <a:gd name="connsiteX14" fmla="*/ 313272 w 313271"/>
                  <a:gd name="connsiteY14" fmla="*/ 254547 h 329943"/>
                  <a:gd name="connsiteX15" fmla="*/ 258692 w 313271"/>
                  <a:gd name="connsiteY15" fmla="*/ 310323 h 329943"/>
                  <a:gd name="connsiteX16" fmla="*/ 175700 w 313271"/>
                  <a:gd name="connsiteY16" fmla="*/ 329912 h 329943"/>
                  <a:gd name="connsiteX17" fmla="*/ 85980 w 313271"/>
                  <a:gd name="connsiteY17" fmla="*/ 308828 h 329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13271" h="329943">
                    <a:moveTo>
                      <a:pt x="84634" y="309127"/>
                    </a:moveTo>
                    <a:cubicBezTo>
                      <a:pt x="58765" y="295747"/>
                      <a:pt x="37187" y="275322"/>
                      <a:pt x="22428" y="250210"/>
                    </a:cubicBezTo>
                    <a:cubicBezTo>
                      <a:pt x="-7476" y="197268"/>
                      <a:pt x="-7476" y="132534"/>
                      <a:pt x="22428" y="79592"/>
                    </a:cubicBezTo>
                    <a:cubicBezTo>
                      <a:pt x="37217" y="54723"/>
                      <a:pt x="58660" y="34474"/>
                      <a:pt x="84335" y="21124"/>
                    </a:cubicBezTo>
                    <a:cubicBezTo>
                      <a:pt x="112044" y="6782"/>
                      <a:pt x="142863" y="-461"/>
                      <a:pt x="174055" y="40"/>
                    </a:cubicBezTo>
                    <a:cubicBezTo>
                      <a:pt x="203095" y="-579"/>
                      <a:pt x="231821" y="6050"/>
                      <a:pt x="257645" y="19330"/>
                    </a:cubicBezTo>
                    <a:cubicBezTo>
                      <a:pt x="281032" y="31678"/>
                      <a:pt x="299918" y="51092"/>
                      <a:pt x="311627" y="74807"/>
                    </a:cubicBezTo>
                    <a:lnTo>
                      <a:pt x="254206" y="108302"/>
                    </a:lnTo>
                    <a:cubicBezTo>
                      <a:pt x="245832" y="94246"/>
                      <a:pt x="233854" y="82681"/>
                      <a:pt x="219514" y="74807"/>
                    </a:cubicBezTo>
                    <a:cubicBezTo>
                      <a:pt x="205712" y="67457"/>
                      <a:pt x="190295" y="63655"/>
                      <a:pt x="174654" y="63741"/>
                    </a:cubicBezTo>
                    <a:cubicBezTo>
                      <a:pt x="148575" y="62941"/>
                      <a:pt x="123289" y="72826"/>
                      <a:pt x="104672" y="91106"/>
                    </a:cubicBezTo>
                    <a:cubicBezTo>
                      <a:pt x="67797" y="133055"/>
                      <a:pt x="67797" y="195852"/>
                      <a:pt x="104672" y="237799"/>
                    </a:cubicBezTo>
                    <a:cubicBezTo>
                      <a:pt x="135969" y="267187"/>
                      <a:pt x="182370" y="273713"/>
                      <a:pt x="220561" y="254098"/>
                    </a:cubicBezTo>
                    <a:cubicBezTo>
                      <a:pt x="234961" y="246308"/>
                      <a:pt x="246968" y="234725"/>
                      <a:pt x="255253" y="220603"/>
                    </a:cubicBezTo>
                    <a:lnTo>
                      <a:pt x="313272" y="254547"/>
                    </a:lnTo>
                    <a:cubicBezTo>
                      <a:pt x="301219" y="278286"/>
                      <a:pt x="282169" y="297755"/>
                      <a:pt x="258692" y="310323"/>
                    </a:cubicBezTo>
                    <a:cubicBezTo>
                      <a:pt x="233107" y="323723"/>
                      <a:pt x="204575" y="330459"/>
                      <a:pt x="175700" y="329912"/>
                    </a:cubicBezTo>
                    <a:cubicBezTo>
                      <a:pt x="144508" y="330395"/>
                      <a:pt x="113689" y="323152"/>
                      <a:pt x="85980" y="308828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06B82B62-EA5E-8762-3965-EBF46825FD98}"/>
                  </a:ext>
                </a:extLst>
              </p:cNvPr>
              <p:cNvSpPr/>
              <p:nvPr/>
            </p:nvSpPr>
            <p:spPr>
              <a:xfrm>
                <a:off x="4562888" y="2759231"/>
                <a:ext cx="293145" cy="330073"/>
              </a:xfrm>
              <a:custGeom>
                <a:avLst/>
                <a:gdLst>
                  <a:gd name="connsiteX0" fmla="*/ 255314 w 293145"/>
                  <a:gd name="connsiteY0" fmla="*/ 33348 h 330073"/>
                  <a:gd name="connsiteX1" fmla="*/ 293146 w 293145"/>
                  <a:gd name="connsiteY1" fmla="*/ 136227 h 330073"/>
                  <a:gd name="connsiteX2" fmla="*/ 293146 w 293145"/>
                  <a:gd name="connsiteY2" fmla="*/ 325837 h 330073"/>
                  <a:gd name="connsiteX3" fmla="*/ 221818 w 293145"/>
                  <a:gd name="connsiteY3" fmla="*/ 325837 h 330073"/>
                  <a:gd name="connsiteX4" fmla="*/ 221818 w 293145"/>
                  <a:gd name="connsiteY4" fmla="*/ 286509 h 330073"/>
                  <a:gd name="connsiteX5" fmla="*/ 182341 w 293145"/>
                  <a:gd name="connsiteY5" fmla="*/ 318809 h 330073"/>
                  <a:gd name="connsiteX6" fmla="*/ 120434 w 293145"/>
                  <a:gd name="connsiteY6" fmla="*/ 330024 h 330073"/>
                  <a:gd name="connsiteX7" fmla="*/ 57031 w 293145"/>
                  <a:gd name="connsiteY7" fmla="*/ 317613 h 330073"/>
                  <a:gd name="connsiteX8" fmla="*/ 15012 w 293145"/>
                  <a:gd name="connsiteY8" fmla="*/ 283220 h 330073"/>
                  <a:gd name="connsiteX9" fmla="*/ 59 w 293145"/>
                  <a:gd name="connsiteY9" fmla="*/ 233425 h 330073"/>
                  <a:gd name="connsiteX10" fmla="*/ 31910 w 293145"/>
                  <a:gd name="connsiteY10" fmla="*/ 163742 h 330073"/>
                  <a:gd name="connsiteX11" fmla="*/ 134341 w 293145"/>
                  <a:gd name="connsiteY11" fmla="*/ 138022 h 330073"/>
                  <a:gd name="connsiteX12" fmla="*/ 217631 w 293145"/>
                  <a:gd name="connsiteY12" fmla="*/ 138022 h 330073"/>
                  <a:gd name="connsiteX13" fmla="*/ 217631 w 293145"/>
                  <a:gd name="connsiteY13" fmla="*/ 133237 h 330073"/>
                  <a:gd name="connsiteX14" fmla="*/ 197444 w 293145"/>
                  <a:gd name="connsiteY14" fmla="*/ 81348 h 330073"/>
                  <a:gd name="connsiteX15" fmla="*/ 137630 w 293145"/>
                  <a:gd name="connsiteY15" fmla="*/ 63105 h 330073"/>
                  <a:gd name="connsiteX16" fmla="*/ 84247 w 293145"/>
                  <a:gd name="connsiteY16" fmla="*/ 71629 h 330073"/>
                  <a:gd name="connsiteX17" fmla="*/ 39386 w 293145"/>
                  <a:gd name="connsiteY17" fmla="*/ 95105 h 330073"/>
                  <a:gd name="connsiteX18" fmla="*/ 9480 w 293145"/>
                  <a:gd name="connsiteY18" fmla="*/ 40226 h 330073"/>
                  <a:gd name="connsiteX19" fmla="*/ 70490 w 293145"/>
                  <a:gd name="connsiteY19" fmla="*/ 10320 h 330073"/>
                  <a:gd name="connsiteX20" fmla="*/ 145257 w 293145"/>
                  <a:gd name="connsiteY20" fmla="*/ 2 h 330073"/>
                  <a:gd name="connsiteX21" fmla="*/ 254267 w 293145"/>
                  <a:gd name="connsiteY21" fmla="*/ 34245 h 330073"/>
                  <a:gd name="connsiteX22" fmla="*/ 185481 w 293145"/>
                  <a:gd name="connsiteY22" fmla="*/ 262434 h 330073"/>
                  <a:gd name="connsiteX23" fmla="*/ 216584 w 293145"/>
                  <a:gd name="connsiteY23" fmla="*/ 225350 h 330073"/>
                  <a:gd name="connsiteX24" fmla="*/ 216584 w 293145"/>
                  <a:gd name="connsiteY24" fmla="*/ 187518 h 330073"/>
                  <a:gd name="connsiteX25" fmla="*/ 138677 w 293145"/>
                  <a:gd name="connsiteY25" fmla="*/ 187518 h 330073"/>
                  <a:gd name="connsiteX26" fmla="*/ 73480 w 293145"/>
                  <a:gd name="connsiteY26" fmla="*/ 230434 h 330073"/>
                  <a:gd name="connsiteX27" fmla="*/ 89779 w 293145"/>
                  <a:gd name="connsiteY27" fmla="*/ 263032 h 330073"/>
                  <a:gd name="connsiteX28" fmla="*/ 134640 w 293145"/>
                  <a:gd name="connsiteY28" fmla="*/ 275145 h 330073"/>
                  <a:gd name="connsiteX29" fmla="*/ 185033 w 293145"/>
                  <a:gd name="connsiteY29" fmla="*/ 262135 h 33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93145" h="330073">
                    <a:moveTo>
                      <a:pt x="255314" y="33348"/>
                    </a:moveTo>
                    <a:cubicBezTo>
                      <a:pt x="280435" y="56077"/>
                      <a:pt x="293146" y="90320"/>
                      <a:pt x="293146" y="136227"/>
                    </a:cubicBezTo>
                    <a:lnTo>
                      <a:pt x="293146" y="325837"/>
                    </a:lnTo>
                    <a:lnTo>
                      <a:pt x="221818" y="325837"/>
                    </a:lnTo>
                    <a:lnTo>
                      <a:pt x="221818" y="286509"/>
                    </a:lnTo>
                    <a:cubicBezTo>
                      <a:pt x="212203" y="301002"/>
                      <a:pt x="198446" y="312259"/>
                      <a:pt x="182341" y="318809"/>
                    </a:cubicBezTo>
                    <a:cubicBezTo>
                      <a:pt x="162692" y="326746"/>
                      <a:pt x="141623" y="330564"/>
                      <a:pt x="120434" y="330024"/>
                    </a:cubicBezTo>
                    <a:cubicBezTo>
                      <a:pt x="98647" y="330556"/>
                      <a:pt x="77009" y="326320"/>
                      <a:pt x="57031" y="317613"/>
                    </a:cubicBezTo>
                    <a:cubicBezTo>
                      <a:pt x="40044" y="310374"/>
                      <a:pt x="25465" y="298444"/>
                      <a:pt x="15012" y="283220"/>
                    </a:cubicBezTo>
                    <a:cubicBezTo>
                      <a:pt x="5068" y="268532"/>
                      <a:pt x="-150" y="251159"/>
                      <a:pt x="59" y="233425"/>
                    </a:cubicBezTo>
                    <a:cubicBezTo>
                      <a:pt x="-943" y="206465"/>
                      <a:pt x="10870" y="180620"/>
                      <a:pt x="31910" y="163742"/>
                    </a:cubicBezTo>
                    <a:cubicBezTo>
                      <a:pt x="53846" y="146595"/>
                      <a:pt x="87985" y="138022"/>
                      <a:pt x="134341" y="138022"/>
                    </a:cubicBezTo>
                    <a:lnTo>
                      <a:pt x="217631" y="138022"/>
                    </a:lnTo>
                    <a:lnTo>
                      <a:pt x="217631" y="133237"/>
                    </a:lnTo>
                    <a:cubicBezTo>
                      <a:pt x="218917" y="113805"/>
                      <a:pt x="211515" y="94805"/>
                      <a:pt x="197444" y="81348"/>
                    </a:cubicBezTo>
                    <a:cubicBezTo>
                      <a:pt x="180427" y="68131"/>
                      <a:pt x="159133" y="61637"/>
                      <a:pt x="137630" y="63105"/>
                    </a:cubicBezTo>
                    <a:cubicBezTo>
                      <a:pt x="119492" y="63111"/>
                      <a:pt x="101473" y="65988"/>
                      <a:pt x="84247" y="71629"/>
                    </a:cubicBezTo>
                    <a:cubicBezTo>
                      <a:pt x="67903" y="76451"/>
                      <a:pt x="52665" y="84427"/>
                      <a:pt x="39386" y="95105"/>
                    </a:cubicBezTo>
                    <a:lnTo>
                      <a:pt x="9480" y="40226"/>
                    </a:lnTo>
                    <a:cubicBezTo>
                      <a:pt x="27783" y="26558"/>
                      <a:pt x="48478" y="16416"/>
                      <a:pt x="70490" y="10320"/>
                    </a:cubicBezTo>
                    <a:cubicBezTo>
                      <a:pt x="94804" y="3386"/>
                      <a:pt x="119970" y="-88"/>
                      <a:pt x="145257" y="2"/>
                    </a:cubicBezTo>
                    <a:cubicBezTo>
                      <a:pt x="192808" y="2"/>
                      <a:pt x="229145" y="11516"/>
                      <a:pt x="254267" y="34245"/>
                    </a:cubicBezTo>
                    <a:moveTo>
                      <a:pt x="185481" y="262434"/>
                    </a:moveTo>
                    <a:cubicBezTo>
                      <a:pt x="199881" y="254105"/>
                      <a:pt x="210887" y="240978"/>
                      <a:pt x="216584" y="225350"/>
                    </a:cubicBezTo>
                    <a:lnTo>
                      <a:pt x="216584" y="187518"/>
                    </a:lnTo>
                    <a:lnTo>
                      <a:pt x="138677" y="187518"/>
                    </a:lnTo>
                    <a:cubicBezTo>
                      <a:pt x="95208" y="187518"/>
                      <a:pt x="73480" y="201824"/>
                      <a:pt x="73480" y="230434"/>
                    </a:cubicBezTo>
                    <a:cubicBezTo>
                      <a:pt x="73091" y="243349"/>
                      <a:pt x="79207" y="255598"/>
                      <a:pt x="89779" y="263032"/>
                    </a:cubicBezTo>
                    <a:cubicBezTo>
                      <a:pt x="103073" y="271732"/>
                      <a:pt x="118774" y="275975"/>
                      <a:pt x="134640" y="275145"/>
                    </a:cubicBezTo>
                    <a:cubicBezTo>
                      <a:pt x="152300" y="275462"/>
                      <a:pt x="169720" y="270965"/>
                      <a:pt x="185033" y="262135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59FADEF6-2A51-CFC0-6A71-68D4FC350FBF}"/>
                  </a:ext>
                </a:extLst>
              </p:cNvPr>
              <p:cNvSpPr/>
              <p:nvPr/>
            </p:nvSpPr>
            <p:spPr>
              <a:xfrm>
                <a:off x="3326637" y="1790699"/>
                <a:ext cx="910578" cy="847644"/>
              </a:xfrm>
              <a:custGeom>
                <a:avLst/>
                <a:gdLst>
                  <a:gd name="connsiteX0" fmla="*/ 487892 w 910578"/>
                  <a:gd name="connsiteY0" fmla="*/ 1 h 847644"/>
                  <a:gd name="connsiteX1" fmla="*/ 65051 w 910578"/>
                  <a:gd name="connsiteY1" fmla="*/ 421130 h 847644"/>
                  <a:gd name="connsiteX2" fmla="*/ 146655 w 910578"/>
                  <a:gd name="connsiteY2" fmla="*/ 671410 h 847644"/>
                  <a:gd name="connsiteX3" fmla="*/ 12074 w 910578"/>
                  <a:gd name="connsiteY3" fmla="*/ 793729 h 847644"/>
                  <a:gd name="connsiteX4" fmla="*/ 5902 w 910578"/>
                  <a:gd name="connsiteY4" fmla="*/ 835571 h 847644"/>
                  <a:gd name="connsiteX5" fmla="*/ 47744 w 910578"/>
                  <a:gd name="connsiteY5" fmla="*/ 841743 h 847644"/>
                  <a:gd name="connsiteX6" fmla="*/ 52449 w 910578"/>
                  <a:gd name="connsiteY6" fmla="*/ 837393 h 847644"/>
                  <a:gd name="connsiteX7" fmla="*/ 185085 w 910578"/>
                  <a:gd name="connsiteY7" fmla="*/ 716719 h 847644"/>
                  <a:gd name="connsiteX8" fmla="*/ 782432 w 910578"/>
                  <a:gd name="connsiteY8" fmla="*/ 725499 h 847644"/>
                  <a:gd name="connsiteX9" fmla="*/ 791213 w 910578"/>
                  <a:gd name="connsiteY9" fmla="*/ 128152 h 847644"/>
                  <a:gd name="connsiteX10" fmla="*/ 487892 w 910578"/>
                  <a:gd name="connsiteY10" fmla="*/ 1 h 847644"/>
                  <a:gd name="connsiteX11" fmla="*/ 487892 w 910578"/>
                  <a:gd name="connsiteY11" fmla="*/ 786102 h 847644"/>
                  <a:gd name="connsiteX12" fmla="*/ 124225 w 910578"/>
                  <a:gd name="connsiteY12" fmla="*/ 422734 h 847644"/>
                  <a:gd name="connsiteX13" fmla="*/ 487593 w 910578"/>
                  <a:gd name="connsiteY13" fmla="*/ 59067 h 847644"/>
                  <a:gd name="connsiteX14" fmla="*/ 851260 w 910578"/>
                  <a:gd name="connsiteY14" fmla="*/ 422435 h 847644"/>
                  <a:gd name="connsiteX15" fmla="*/ 851260 w 910578"/>
                  <a:gd name="connsiteY15" fmla="*/ 422585 h 847644"/>
                  <a:gd name="connsiteX16" fmla="*/ 487892 w 910578"/>
                  <a:gd name="connsiteY16" fmla="*/ 786102 h 847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10578" h="847644">
                    <a:moveTo>
                      <a:pt x="487892" y="1"/>
                    </a:moveTo>
                    <a:cubicBezTo>
                      <a:pt x="254837" y="-472"/>
                      <a:pt x="65524" y="188075"/>
                      <a:pt x="65051" y="421130"/>
                    </a:cubicBezTo>
                    <a:cubicBezTo>
                      <a:pt x="64869" y="511124"/>
                      <a:pt x="93463" y="598818"/>
                      <a:pt x="146655" y="671410"/>
                    </a:cubicBezTo>
                    <a:lnTo>
                      <a:pt x="12074" y="793729"/>
                    </a:lnTo>
                    <a:cubicBezTo>
                      <a:pt x="-1185" y="803578"/>
                      <a:pt x="-3948" y="822312"/>
                      <a:pt x="5902" y="835571"/>
                    </a:cubicBezTo>
                    <a:cubicBezTo>
                      <a:pt x="15753" y="848829"/>
                      <a:pt x="34485" y="851592"/>
                      <a:pt x="47744" y="841743"/>
                    </a:cubicBezTo>
                    <a:cubicBezTo>
                      <a:pt x="49464" y="840466"/>
                      <a:pt x="51041" y="839008"/>
                      <a:pt x="52449" y="837393"/>
                    </a:cubicBezTo>
                    <a:lnTo>
                      <a:pt x="185085" y="716719"/>
                    </a:lnTo>
                    <a:cubicBezTo>
                      <a:pt x="347614" y="884097"/>
                      <a:pt x="615054" y="888028"/>
                      <a:pt x="782432" y="725499"/>
                    </a:cubicBezTo>
                    <a:cubicBezTo>
                      <a:pt x="949803" y="562970"/>
                      <a:pt x="953736" y="295530"/>
                      <a:pt x="791213" y="128152"/>
                    </a:cubicBezTo>
                    <a:cubicBezTo>
                      <a:pt x="711603" y="46165"/>
                      <a:pt x="602170" y="-69"/>
                      <a:pt x="487892" y="1"/>
                    </a:cubicBezTo>
                    <a:moveTo>
                      <a:pt x="487892" y="786102"/>
                    </a:moveTo>
                    <a:cubicBezTo>
                      <a:pt x="287127" y="786185"/>
                      <a:pt x="124307" y="623499"/>
                      <a:pt x="124225" y="422734"/>
                    </a:cubicBezTo>
                    <a:cubicBezTo>
                      <a:pt x="124143" y="221970"/>
                      <a:pt x="286828" y="59150"/>
                      <a:pt x="487593" y="59067"/>
                    </a:cubicBezTo>
                    <a:cubicBezTo>
                      <a:pt x="688357" y="58984"/>
                      <a:pt x="851178" y="221670"/>
                      <a:pt x="851260" y="422435"/>
                    </a:cubicBezTo>
                    <a:cubicBezTo>
                      <a:pt x="851260" y="422484"/>
                      <a:pt x="851260" y="422535"/>
                      <a:pt x="851260" y="422585"/>
                    </a:cubicBezTo>
                    <a:cubicBezTo>
                      <a:pt x="851095" y="623224"/>
                      <a:pt x="688531" y="785856"/>
                      <a:pt x="487892" y="786102"/>
                    </a:cubicBezTo>
                  </a:path>
                </a:pathLst>
              </a:custGeom>
              <a:grpFill/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5CE23722-D4EC-A91B-080E-AD940CE9D331}"/>
                </a:ext>
              </a:extLst>
            </p:cNvPr>
            <p:cNvGrpSpPr/>
            <p:nvPr/>
          </p:nvGrpSpPr>
          <p:grpSpPr>
            <a:xfrm>
              <a:off x="3494077" y="2014702"/>
              <a:ext cx="641651" cy="500042"/>
              <a:chOff x="3494077" y="2014702"/>
              <a:chExt cx="641651" cy="500042"/>
            </a:xfrm>
          </p:grpSpPr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3FB523CE-3C36-7F5A-1564-3C57B7F9699F}"/>
                  </a:ext>
                </a:extLst>
              </p:cNvPr>
              <p:cNvSpPr/>
              <p:nvPr/>
            </p:nvSpPr>
            <p:spPr>
              <a:xfrm>
                <a:off x="3494077" y="2029580"/>
                <a:ext cx="198183" cy="265647"/>
              </a:xfrm>
              <a:custGeom>
                <a:avLst/>
                <a:gdLst>
                  <a:gd name="connsiteX0" fmla="*/ 126207 w 198183"/>
                  <a:gd name="connsiteY0" fmla="*/ 374 h 265647"/>
                  <a:gd name="connsiteX1" fmla="*/ 58324 w 198183"/>
                  <a:gd name="connsiteY1" fmla="*/ 67669 h 265647"/>
                  <a:gd name="connsiteX2" fmla="*/ 72973 w 198183"/>
                  <a:gd name="connsiteY2" fmla="*/ 109983 h 265647"/>
                  <a:gd name="connsiteX3" fmla="*/ 0 w 198183"/>
                  <a:gd name="connsiteY3" fmla="*/ 203442 h 265647"/>
                  <a:gd name="connsiteX4" fmla="*/ 0 w 198183"/>
                  <a:gd name="connsiteY4" fmla="*/ 250695 h 265647"/>
                  <a:gd name="connsiteX5" fmla="*/ 14953 w 198183"/>
                  <a:gd name="connsiteY5" fmla="*/ 265648 h 265647"/>
                  <a:gd name="connsiteX6" fmla="*/ 29907 w 198183"/>
                  <a:gd name="connsiteY6" fmla="*/ 250695 h 265647"/>
                  <a:gd name="connsiteX7" fmla="*/ 29907 w 198183"/>
                  <a:gd name="connsiteY7" fmla="*/ 203143 h 265647"/>
                  <a:gd name="connsiteX8" fmla="*/ 97048 w 198183"/>
                  <a:gd name="connsiteY8" fmla="*/ 136002 h 265647"/>
                  <a:gd name="connsiteX9" fmla="*/ 126955 w 198183"/>
                  <a:gd name="connsiteY9" fmla="*/ 136002 h 265647"/>
                  <a:gd name="connsiteX10" fmla="*/ 198107 w 198183"/>
                  <a:gd name="connsiteY10" fmla="*/ 71227 h 265647"/>
                  <a:gd name="connsiteX11" fmla="*/ 133332 w 198183"/>
                  <a:gd name="connsiteY11" fmla="*/ 75 h 265647"/>
                  <a:gd name="connsiteX12" fmla="*/ 126955 w 198183"/>
                  <a:gd name="connsiteY12" fmla="*/ 75 h 265647"/>
                  <a:gd name="connsiteX13" fmla="*/ 126955 w 198183"/>
                  <a:gd name="connsiteY13" fmla="*/ 106394 h 265647"/>
                  <a:gd name="connsiteX14" fmla="*/ 88524 w 198183"/>
                  <a:gd name="connsiteY14" fmla="*/ 67964 h 265647"/>
                  <a:gd name="connsiteX15" fmla="*/ 126955 w 198183"/>
                  <a:gd name="connsiteY15" fmla="*/ 29533 h 265647"/>
                  <a:gd name="connsiteX16" fmla="*/ 165385 w 198183"/>
                  <a:gd name="connsiteY16" fmla="*/ 67964 h 265647"/>
                  <a:gd name="connsiteX17" fmla="*/ 165385 w 198183"/>
                  <a:gd name="connsiteY17" fmla="*/ 68113 h 265647"/>
                  <a:gd name="connsiteX18" fmla="*/ 127104 w 198183"/>
                  <a:gd name="connsiteY18" fmla="*/ 106394 h 265647"/>
                  <a:gd name="connsiteX19" fmla="*/ 126955 w 198183"/>
                  <a:gd name="connsiteY19" fmla="*/ 106394 h 265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8183" h="265647">
                    <a:moveTo>
                      <a:pt x="126207" y="374"/>
                    </a:moveTo>
                    <a:cubicBezTo>
                      <a:pt x="88879" y="211"/>
                      <a:pt x="58486" y="30341"/>
                      <a:pt x="58324" y="67669"/>
                    </a:cubicBezTo>
                    <a:cubicBezTo>
                      <a:pt x="58257" y="83028"/>
                      <a:pt x="63423" y="97953"/>
                      <a:pt x="72973" y="109983"/>
                    </a:cubicBezTo>
                    <a:cubicBezTo>
                      <a:pt x="30201" y="120881"/>
                      <a:pt x="200" y="159305"/>
                      <a:pt x="0" y="203442"/>
                    </a:cubicBezTo>
                    <a:lnTo>
                      <a:pt x="0" y="250695"/>
                    </a:lnTo>
                    <a:cubicBezTo>
                      <a:pt x="0" y="258953"/>
                      <a:pt x="6695" y="265648"/>
                      <a:pt x="14953" y="265648"/>
                    </a:cubicBezTo>
                    <a:cubicBezTo>
                      <a:pt x="23212" y="265648"/>
                      <a:pt x="29907" y="258953"/>
                      <a:pt x="29907" y="250695"/>
                    </a:cubicBezTo>
                    <a:lnTo>
                      <a:pt x="29907" y="203143"/>
                    </a:lnTo>
                    <a:cubicBezTo>
                      <a:pt x="29907" y="166061"/>
                      <a:pt x="59966" y="136002"/>
                      <a:pt x="97048" y="136002"/>
                    </a:cubicBezTo>
                    <a:lnTo>
                      <a:pt x="126955" y="136002"/>
                    </a:lnTo>
                    <a:cubicBezTo>
                      <a:pt x="164489" y="137763"/>
                      <a:pt x="196346" y="108763"/>
                      <a:pt x="198107" y="71227"/>
                    </a:cubicBezTo>
                    <a:cubicBezTo>
                      <a:pt x="199867" y="33692"/>
                      <a:pt x="170867" y="1837"/>
                      <a:pt x="133332" y="75"/>
                    </a:cubicBezTo>
                    <a:cubicBezTo>
                      <a:pt x="131207" y="-25"/>
                      <a:pt x="129079" y="-25"/>
                      <a:pt x="126955" y="75"/>
                    </a:cubicBezTo>
                    <a:moveTo>
                      <a:pt x="126955" y="106394"/>
                    </a:moveTo>
                    <a:cubicBezTo>
                      <a:pt x="105730" y="106394"/>
                      <a:pt x="88524" y="89189"/>
                      <a:pt x="88524" y="67964"/>
                    </a:cubicBezTo>
                    <a:cubicBezTo>
                      <a:pt x="88524" y="46739"/>
                      <a:pt x="105731" y="29533"/>
                      <a:pt x="126955" y="29533"/>
                    </a:cubicBezTo>
                    <a:cubicBezTo>
                      <a:pt x="148179" y="29533"/>
                      <a:pt x="165385" y="46739"/>
                      <a:pt x="165385" y="67964"/>
                    </a:cubicBezTo>
                    <a:cubicBezTo>
                      <a:pt x="165385" y="68013"/>
                      <a:pt x="165385" y="68064"/>
                      <a:pt x="165385" y="68113"/>
                    </a:cubicBezTo>
                    <a:cubicBezTo>
                      <a:pt x="165385" y="89254"/>
                      <a:pt x="148247" y="106394"/>
                      <a:pt x="127104" y="106394"/>
                    </a:cubicBezTo>
                    <a:cubicBezTo>
                      <a:pt x="127055" y="106394"/>
                      <a:pt x="127004" y="106394"/>
                      <a:pt x="126955" y="106394"/>
                    </a:cubicBezTo>
                  </a:path>
                </a:pathLst>
              </a:custGeom>
              <a:solidFill>
                <a:srgbClr val="3CB5A1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5CABF24E-C8B0-A585-2921-65A5B2944828}"/>
                  </a:ext>
                </a:extLst>
              </p:cNvPr>
              <p:cNvSpPr/>
              <p:nvPr/>
            </p:nvSpPr>
            <p:spPr>
              <a:xfrm>
                <a:off x="3546563" y="2245882"/>
                <a:ext cx="29906" cy="93608"/>
              </a:xfrm>
              <a:custGeom>
                <a:avLst/>
                <a:gdLst>
                  <a:gd name="connsiteX0" fmla="*/ 14953 w 29906"/>
                  <a:gd name="connsiteY0" fmla="*/ 150 h 93608"/>
                  <a:gd name="connsiteX1" fmla="*/ 0 w 29906"/>
                  <a:gd name="connsiteY1" fmla="*/ 15103 h 93608"/>
                  <a:gd name="connsiteX2" fmla="*/ 0 w 29906"/>
                  <a:gd name="connsiteY2" fmla="*/ 78655 h 93608"/>
                  <a:gd name="connsiteX3" fmla="*/ 14953 w 29906"/>
                  <a:gd name="connsiteY3" fmla="*/ 93608 h 93608"/>
                  <a:gd name="connsiteX4" fmla="*/ 29907 w 29906"/>
                  <a:gd name="connsiteY4" fmla="*/ 78655 h 93608"/>
                  <a:gd name="connsiteX5" fmla="*/ 29907 w 29906"/>
                  <a:gd name="connsiteY5" fmla="*/ 14953 h 93608"/>
                  <a:gd name="connsiteX6" fmla="*/ 14953 w 29906"/>
                  <a:gd name="connsiteY6" fmla="*/ 0 h 93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06" h="93608">
                    <a:moveTo>
                      <a:pt x="14953" y="150"/>
                    </a:moveTo>
                    <a:cubicBezTo>
                      <a:pt x="6695" y="150"/>
                      <a:pt x="0" y="6844"/>
                      <a:pt x="0" y="15103"/>
                    </a:cubicBezTo>
                    <a:lnTo>
                      <a:pt x="0" y="78655"/>
                    </a:lnTo>
                    <a:cubicBezTo>
                      <a:pt x="0" y="86914"/>
                      <a:pt x="6695" y="93608"/>
                      <a:pt x="14953" y="93608"/>
                    </a:cubicBezTo>
                    <a:cubicBezTo>
                      <a:pt x="23212" y="93608"/>
                      <a:pt x="29907" y="86914"/>
                      <a:pt x="29907" y="78655"/>
                    </a:cubicBezTo>
                    <a:lnTo>
                      <a:pt x="29907" y="14953"/>
                    </a:lnTo>
                    <a:cubicBezTo>
                      <a:pt x="29907" y="6695"/>
                      <a:pt x="23212" y="0"/>
                      <a:pt x="14953" y="0"/>
                    </a:cubicBezTo>
                  </a:path>
                </a:pathLst>
              </a:custGeom>
              <a:solidFill>
                <a:srgbClr val="3CB5A1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9A79EF9E-9709-C8E5-C3CB-4504F4730BDD}"/>
                  </a:ext>
                </a:extLst>
              </p:cNvPr>
              <p:cNvSpPr/>
              <p:nvPr/>
            </p:nvSpPr>
            <p:spPr>
              <a:xfrm>
                <a:off x="3940666" y="2030101"/>
                <a:ext cx="195062" cy="264827"/>
              </a:xfrm>
              <a:custGeom>
                <a:avLst/>
                <a:gdLst>
                  <a:gd name="connsiteX0" fmla="*/ 121342 w 195062"/>
                  <a:gd name="connsiteY0" fmla="*/ 109162 h 264827"/>
                  <a:gd name="connsiteX1" fmla="*/ 109162 w 195062"/>
                  <a:gd name="connsiteY1" fmla="*/ 14142 h 264827"/>
                  <a:gd name="connsiteX2" fmla="*/ 14142 w 195062"/>
                  <a:gd name="connsiteY2" fmla="*/ 26322 h 264827"/>
                  <a:gd name="connsiteX3" fmla="*/ 26322 w 195062"/>
                  <a:gd name="connsiteY3" fmla="*/ 121342 h 264827"/>
                  <a:gd name="connsiteX4" fmla="*/ 68108 w 195062"/>
                  <a:gd name="connsiteY4" fmla="*/ 135480 h 264827"/>
                  <a:gd name="connsiteX5" fmla="*/ 98014 w 195062"/>
                  <a:gd name="connsiteY5" fmla="*/ 135480 h 264827"/>
                  <a:gd name="connsiteX6" fmla="*/ 165155 w 195062"/>
                  <a:gd name="connsiteY6" fmla="*/ 202621 h 264827"/>
                  <a:gd name="connsiteX7" fmla="*/ 165155 w 195062"/>
                  <a:gd name="connsiteY7" fmla="*/ 249874 h 264827"/>
                  <a:gd name="connsiteX8" fmla="*/ 180109 w 195062"/>
                  <a:gd name="connsiteY8" fmla="*/ 264828 h 264827"/>
                  <a:gd name="connsiteX9" fmla="*/ 195062 w 195062"/>
                  <a:gd name="connsiteY9" fmla="*/ 249874 h 264827"/>
                  <a:gd name="connsiteX10" fmla="*/ 195062 w 195062"/>
                  <a:gd name="connsiteY10" fmla="*/ 202621 h 264827"/>
                  <a:gd name="connsiteX11" fmla="*/ 122089 w 195062"/>
                  <a:gd name="connsiteY11" fmla="*/ 109162 h 264827"/>
                  <a:gd name="connsiteX12" fmla="*/ 30425 w 195062"/>
                  <a:gd name="connsiteY12" fmla="*/ 67592 h 264827"/>
                  <a:gd name="connsiteX13" fmla="*/ 68706 w 195062"/>
                  <a:gd name="connsiteY13" fmla="*/ 29012 h 264827"/>
                  <a:gd name="connsiteX14" fmla="*/ 107286 w 195062"/>
                  <a:gd name="connsiteY14" fmla="*/ 67293 h 264827"/>
                  <a:gd name="connsiteX15" fmla="*/ 69005 w 195062"/>
                  <a:gd name="connsiteY15" fmla="*/ 105873 h 264827"/>
                  <a:gd name="connsiteX16" fmla="*/ 68855 w 195062"/>
                  <a:gd name="connsiteY16" fmla="*/ 105873 h 264827"/>
                  <a:gd name="connsiteX17" fmla="*/ 30425 w 195062"/>
                  <a:gd name="connsiteY17" fmla="*/ 67592 h 264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95062" h="264827">
                    <a:moveTo>
                      <a:pt x="121342" y="109162"/>
                    </a:moveTo>
                    <a:cubicBezTo>
                      <a:pt x="144218" y="79561"/>
                      <a:pt x="138764" y="37018"/>
                      <a:pt x="109162" y="14142"/>
                    </a:cubicBezTo>
                    <a:cubicBezTo>
                      <a:pt x="79559" y="-8733"/>
                      <a:pt x="37018" y="-3280"/>
                      <a:pt x="14142" y="26322"/>
                    </a:cubicBezTo>
                    <a:cubicBezTo>
                      <a:pt x="-8733" y="55925"/>
                      <a:pt x="-3280" y="98466"/>
                      <a:pt x="26322" y="121342"/>
                    </a:cubicBezTo>
                    <a:cubicBezTo>
                      <a:pt x="38283" y="130585"/>
                      <a:pt x="52991" y="135563"/>
                      <a:pt x="68108" y="135480"/>
                    </a:cubicBezTo>
                    <a:lnTo>
                      <a:pt x="98014" y="135480"/>
                    </a:lnTo>
                    <a:cubicBezTo>
                      <a:pt x="135062" y="135563"/>
                      <a:pt x="165073" y="165574"/>
                      <a:pt x="165155" y="202621"/>
                    </a:cubicBezTo>
                    <a:lnTo>
                      <a:pt x="165155" y="249874"/>
                    </a:lnTo>
                    <a:cubicBezTo>
                      <a:pt x="165155" y="258133"/>
                      <a:pt x="171850" y="264828"/>
                      <a:pt x="180109" y="264828"/>
                    </a:cubicBezTo>
                    <a:cubicBezTo>
                      <a:pt x="188367" y="264828"/>
                      <a:pt x="195062" y="258133"/>
                      <a:pt x="195062" y="249874"/>
                    </a:cubicBezTo>
                    <a:lnTo>
                      <a:pt x="195062" y="202621"/>
                    </a:lnTo>
                    <a:cubicBezTo>
                      <a:pt x="194968" y="158447"/>
                      <a:pt x="164922" y="119966"/>
                      <a:pt x="122089" y="109162"/>
                    </a:cubicBezTo>
                    <a:moveTo>
                      <a:pt x="30425" y="67592"/>
                    </a:moveTo>
                    <a:cubicBezTo>
                      <a:pt x="30343" y="46367"/>
                      <a:pt x="47481" y="29094"/>
                      <a:pt x="68706" y="29012"/>
                    </a:cubicBezTo>
                    <a:cubicBezTo>
                      <a:pt x="89929" y="28930"/>
                      <a:pt x="107202" y="46068"/>
                      <a:pt x="107286" y="67293"/>
                    </a:cubicBezTo>
                    <a:cubicBezTo>
                      <a:pt x="107368" y="88518"/>
                      <a:pt x="90228" y="105790"/>
                      <a:pt x="69005" y="105873"/>
                    </a:cubicBezTo>
                    <a:cubicBezTo>
                      <a:pt x="68955" y="105873"/>
                      <a:pt x="68905" y="105873"/>
                      <a:pt x="68855" y="105873"/>
                    </a:cubicBezTo>
                    <a:cubicBezTo>
                      <a:pt x="47689" y="105873"/>
                      <a:pt x="30507" y="88758"/>
                      <a:pt x="30425" y="67592"/>
                    </a:cubicBezTo>
                  </a:path>
                </a:pathLst>
              </a:custGeom>
              <a:solidFill>
                <a:srgbClr val="F4519B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967CB9BD-BD2E-6C9A-C063-5DA00C0AD6E9}"/>
                  </a:ext>
                </a:extLst>
              </p:cNvPr>
              <p:cNvSpPr/>
              <p:nvPr/>
            </p:nvSpPr>
            <p:spPr>
              <a:xfrm>
                <a:off x="4052587" y="2245882"/>
                <a:ext cx="29906" cy="93608"/>
              </a:xfrm>
              <a:custGeom>
                <a:avLst/>
                <a:gdLst>
                  <a:gd name="connsiteX0" fmla="*/ 14953 w 29906"/>
                  <a:gd name="connsiteY0" fmla="*/ 150 h 93608"/>
                  <a:gd name="connsiteX1" fmla="*/ 0 w 29906"/>
                  <a:gd name="connsiteY1" fmla="*/ 15103 h 93608"/>
                  <a:gd name="connsiteX2" fmla="*/ 0 w 29906"/>
                  <a:gd name="connsiteY2" fmla="*/ 78655 h 93608"/>
                  <a:gd name="connsiteX3" fmla="*/ 14953 w 29906"/>
                  <a:gd name="connsiteY3" fmla="*/ 93608 h 93608"/>
                  <a:gd name="connsiteX4" fmla="*/ 29907 w 29906"/>
                  <a:gd name="connsiteY4" fmla="*/ 78655 h 93608"/>
                  <a:gd name="connsiteX5" fmla="*/ 29907 w 29906"/>
                  <a:gd name="connsiteY5" fmla="*/ 14953 h 93608"/>
                  <a:gd name="connsiteX6" fmla="*/ 14953 w 29906"/>
                  <a:gd name="connsiteY6" fmla="*/ 0 h 93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06" h="93608">
                    <a:moveTo>
                      <a:pt x="14953" y="150"/>
                    </a:moveTo>
                    <a:cubicBezTo>
                      <a:pt x="6695" y="150"/>
                      <a:pt x="0" y="6844"/>
                      <a:pt x="0" y="15103"/>
                    </a:cubicBezTo>
                    <a:lnTo>
                      <a:pt x="0" y="78655"/>
                    </a:lnTo>
                    <a:cubicBezTo>
                      <a:pt x="0" y="86914"/>
                      <a:pt x="6695" y="93608"/>
                      <a:pt x="14953" y="93608"/>
                    </a:cubicBezTo>
                    <a:cubicBezTo>
                      <a:pt x="23212" y="93608"/>
                      <a:pt x="29907" y="86914"/>
                      <a:pt x="29907" y="78655"/>
                    </a:cubicBezTo>
                    <a:lnTo>
                      <a:pt x="29907" y="14953"/>
                    </a:lnTo>
                    <a:cubicBezTo>
                      <a:pt x="29907" y="6695"/>
                      <a:pt x="23212" y="0"/>
                      <a:pt x="14953" y="0"/>
                    </a:cubicBezTo>
                  </a:path>
                </a:pathLst>
              </a:custGeom>
              <a:solidFill>
                <a:srgbClr val="F4519B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6047EA4-D1C5-CD9E-E86D-C6D2C1D901E0}"/>
                  </a:ext>
                </a:extLst>
              </p:cNvPr>
              <p:cNvSpPr/>
              <p:nvPr/>
            </p:nvSpPr>
            <p:spPr>
              <a:xfrm>
                <a:off x="3624321" y="2014702"/>
                <a:ext cx="380265" cy="446957"/>
              </a:xfrm>
              <a:custGeom>
                <a:avLst/>
                <a:gdLst>
                  <a:gd name="connsiteX0" fmla="*/ 258395 w 380265"/>
                  <a:gd name="connsiteY0" fmla="*/ 168675 h 446957"/>
                  <a:gd name="connsiteX1" fmla="*/ 288302 w 380265"/>
                  <a:gd name="connsiteY1" fmla="*/ 98244 h 446957"/>
                  <a:gd name="connsiteX2" fmla="*/ 190058 w 380265"/>
                  <a:gd name="connsiteY2" fmla="*/ 0 h 446957"/>
                  <a:gd name="connsiteX3" fmla="*/ 91814 w 380265"/>
                  <a:gd name="connsiteY3" fmla="*/ 98244 h 446957"/>
                  <a:gd name="connsiteX4" fmla="*/ 121721 w 380265"/>
                  <a:gd name="connsiteY4" fmla="*/ 168675 h 446957"/>
                  <a:gd name="connsiteX5" fmla="*/ 0 w 380265"/>
                  <a:gd name="connsiteY5" fmla="*/ 310433 h 446957"/>
                  <a:gd name="connsiteX6" fmla="*/ 0 w 380265"/>
                  <a:gd name="connsiteY6" fmla="*/ 432004 h 446957"/>
                  <a:gd name="connsiteX7" fmla="*/ 14953 w 380265"/>
                  <a:gd name="connsiteY7" fmla="*/ 446958 h 446957"/>
                  <a:gd name="connsiteX8" fmla="*/ 29907 w 380265"/>
                  <a:gd name="connsiteY8" fmla="*/ 432004 h 446957"/>
                  <a:gd name="connsiteX9" fmla="*/ 29907 w 380265"/>
                  <a:gd name="connsiteY9" fmla="*/ 310433 h 446957"/>
                  <a:gd name="connsiteX10" fmla="*/ 143852 w 380265"/>
                  <a:gd name="connsiteY10" fmla="*/ 196488 h 446957"/>
                  <a:gd name="connsiteX11" fmla="*/ 236264 w 380265"/>
                  <a:gd name="connsiteY11" fmla="*/ 196488 h 446957"/>
                  <a:gd name="connsiteX12" fmla="*/ 350358 w 380265"/>
                  <a:gd name="connsiteY12" fmla="*/ 310433 h 446957"/>
                  <a:gd name="connsiteX13" fmla="*/ 350358 w 380265"/>
                  <a:gd name="connsiteY13" fmla="*/ 432004 h 446957"/>
                  <a:gd name="connsiteX14" fmla="*/ 365312 w 380265"/>
                  <a:gd name="connsiteY14" fmla="*/ 446958 h 446957"/>
                  <a:gd name="connsiteX15" fmla="*/ 380265 w 380265"/>
                  <a:gd name="connsiteY15" fmla="*/ 432004 h 446957"/>
                  <a:gd name="connsiteX16" fmla="*/ 380265 w 380265"/>
                  <a:gd name="connsiteY16" fmla="*/ 310433 h 446957"/>
                  <a:gd name="connsiteX17" fmla="*/ 258545 w 380265"/>
                  <a:gd name="connsiteY17" fmla="*/ 168675 h 446957"/>
                  <a:gd name="connsiteX18" fmla="*/ 190207 w 380265"/>
                  <a:gd name="connsiteY18" fmla="*/ 30206 h 446957"/>
                  <a:gd name="connsiteX19" fmla="*/ 259143 w 380265"/>
                  <a:gd name="connsiteY19" fmla="*/ 98842 h 446957"/>
                  <a:gd name="connsiteX20" fmla="*/ 190506 w 380265"/>
                  <a:gd name="connsiteY20" fmla="*/ 167777 h 446957"/>
                  <a:gd name="connsiteX21" fmla="*/ 121571 w 380265"/>
                  <a:gd name="connsiteY21" fmla="*/ 99141 h 446957"/>
                  <a:gd name="connsiteX22" fmla="*/ 121571 w 380265"/>
                  <a:gd name="connsiteY22" fmla="*/ 98992 h 446957"/>
                  <a:gd name="connsiteX23" fmla="*/ 190207 w 380265"/>
                  <a:gd name="connsiteY23" fmla="*/ 30206 h 446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80265" h="446957">
                    <a:moveTo>
                      <a:pt x="258395" y="168675"/>
                    </a:moveTo>
                    <a:cubicBezTo>
                      <a:pt x="277559" y="150264"/>
                      <a:pt x="288365" y="124819"/>
                      <a:pt x="288302" y="98244"/>
                    </a:cubicBezTo>
                    <a:cubicBezTo>
                      <a:pt x="288302" y="43985"/>
                      <a:pt x="244316" y="0"/>
                      <a:pt x="190058" y="0"/>
                    </a:cubicBezTo>
                    <a:cubicBezTo>
                      <a:pt x="135799" y="0"/>
                      <a:pt x="91814" y="43985"/>
                      <a:pt x="91814" y="98244"/>
                    </a:cubicBezTo>
                    <a:cubicBezTo>
                      <a:pt x="91751" y="124819"/>
                      <a:pt x="102556" y="150264"/>
                      <a:pt x="121721" y="168675"/>
                    </a:cubicBezTo>
                    <a:cubicBezTo>
                      <a:pt x="51805" y="179561"/>
                      <a:pt x="187" y="239675"/>
                      <a:pt x="0" y="310433"/>
                    </a:cubicBezTo>
                    <a:lnTo>
                      <a:pt x="0" y="432004"/>
                    </a:lnTo>
                    <a:cubicBezTo>
                      <a:pt x="0" y="440263"/>
                      <a:pt x="6695" y="446958"/>
                      <a:pt x="14953" y="446958"/>
                    </a:cubicBezTo>
                    <a:cubicBezTo>
                      <a:pt x="23212" y="446958"/>
                      <a:pt x="29907" y="440263"/>
                      <a:pt x="29907" y="432004"/>
                    </a:cubicBezTo>
                    <a:lnTo>
                      <a:pt x="29907" y="310433"/>
                    </a:lnTo>
                    <a:cubicBezTo>
                      <a:pt x="29907" y="247503"/>
                      <a:pt x="80922" y="196488"/>
                      <a:pt x="143852" y="196488"/>
                    </a:cubicBezTo>
                    <a:lnTo>
                      <a:pt x="236264" y="196488"/>
                    </a:lnTo>
                    <a:cubicBezTo>
                      <a:pt x="299218" y="196488"/>
                      <a:pt x="350276" y="247479"/>
                      <a:pt x="350358" y="310433"/>
                    </a:cubicBezTo>
                    <a:lnTo>
                      <a:pt x="350358" y="432004"/>
                    </a:lnTo>
                    <a:cubicBezTo>
                      <a:pt x="350358" y="440263"/>
                      <a:pt x="357053" y="446958"/>
                      <a:pt x="365312" y="446958"/>
                    </a:cubicBezTo>
                    <a:cubicBezTo>
                      <a:pt x="373571" y="446958"/>
                      <a:pt x="380265" y="440263"/>
                      <a:pt x="380265" y="432004"/>
                    </a:cubicBezTo>
                    <a:lnTo>
                      <a:pt x="380265" y="310433"/>
                    </a:lnTo>
                    <a:cubicBezTo>
                      <a:pt x="380078" y="239675"/>
                      <a:pt x="328461" y="179561"/>
                      <a:pt x="258545" y="168675"/>
                    </a:cubicBezTo>
                    <a:moveTo>
                      <a:pt x="190207" y="30206"/>
                    </a:moveTo>
                    <a:cubicBezTo>
                      <a:pt x="228197" y="30124"/>
                      <a:pt x="259060" y="60853"/>
                      <a:pt x="259143" y="98842"/>
                    </a:cubicBezTo>
                    <a:cubicBezTo>
                      <a:pt x="259225" y="136831"/>
                      <a:pt x="228496" y="167695"/>
                      <a:pt x="190506" y="167777"/>
                    </a:cubicBezTo>
                    <a:cubicBezTo>
                      <a:pt x="152517" y="167860"/>
                      <a:pt x="121653" y="137130"/>
                      <a:pt x="121571" y="99141"/>
                    </a:cubicBezTo>
                    <a:cubicBezTo>
                      <a:pt x="121571" y="99092"/>
                      <a:pt x="121571" y="99041"/>
                      <a:pt x="121571" y="98992"/>
                    </a:cubicBezTo>
                    <a:cubicBezTo>
                      <a:pt x="121571" y="61061"/>
                      <a:pt x="152277" y="30288"/>
                      <a:pt x="190207" y="30206"/>
                    </a:cubicBezTo>
                  </a:path>
                </a:pathLst>
              </a:custGeom>
              <a:solidFill>
                <a:srgbClr val="2699D6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416F0E30-3C02-58BA-B8E6-23062628C99A}"/>
                  </a:ext>
                </a:extLst>
              </p:cNvPr>
              <p:cNvSpPr/>
              <p:nvPr/>
            </p:nvSpPr>
            <p:spPr>
              <a:xfrm>
                <a:off x="3691910" y="2324686"/>
                <a:ext cx="29906" cy="190058"/>
              </a:xfrm>
              <a:custGeom>
                <a:avLst/>
                <a:gdLst>
                  <a:gd name="connsiteX0" fmla="*/ 14953 w 29906"/>
                  <a:gd name="connsiteY0" fmla="*/ 150 h 190058"/>
                  <a:gd name="connsiteX1" fmla="*/ 0 w 29906"/>
                  <a:gd name="connsiteY1" fmla="*/ 15103 h 190058"/>
                  <a:gd name="connsiteX2" fmla="*/ 0 w 29906"/>
                  <a:gd name="connsiteY2" fmla="*/ 175105 h 190058"/>
                  <a:gd name="connsiteX3" fmla="*/ 14953 w 29906"/>
                  <a:gd name="connsiteY3" fmla="*/ 190058 h 190058"/>
                  <a:gd name="connsiteX4" fmla="*/ 29907 w 29906"/>
                  <a:gd name="connsiteY4" fmla="*/ 175105 h 190058"/>
                  <a:gd name="connsiteX5" fmla="*/ 29907 w 29906"/>
                  <a:gd name="connsiteY5" fmla="*/ 14953 h 190058"/>
                  <a:gd name="connsiteX6" fmla="*/ 14953 w 29906"/>
                  <a:gd name="connsiteY6" fmla="*/ 0 h 190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06" h="190058">
                    <a:moveTo>
                      <a:pt x="14953" y="150"/>
                    </a:moveTo>
                    <a:cubicBezTo>
                      <a:pt x="6695" y="150"/>
                      <a:pt x="0" y="6844"/>
                      <a:pt x="0" y="15103"/>
                    </a:cubicBezTo>
                    <a:lnTo>
                      <a:pt x="0" y="175105"/>
                    </a:lnTo>
                    <a:cubicBezTo>
                      <a:pt x="0" y="183363"/>
                      <a:pt x="6695" y="190058"/>
                      <a:pt x="14953" y="190058"/>
                    </a:cubicBezTo>
                    <a:cubicBezTo>
                      <a:pt x="23212" y="190058"/>
                      <a:pt x="29907" y="183363"/>
                      <a:pt x="29907" y="175105"/>
                    </a:cubicBezTo>
                    <a:lnTo>
                      <a:pt x="29907" y="14953"/>
                    </a:lnTo>
                    <a:cubicBezTo>
                      <a:pt x="29907" y="6695"/>
                      <a:pt x="23212" y="0"/>
                      <a:pt x="14953" y="0"/>
                    </a:cubicBezTo>
                  </a:path>
                </a:pathLst>
              </a:custGeom>
              <a:solidFill>
                <a:srgbClr val="2699D6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0E6632C2-FF9D-7FCF-3316-89D24303985F}"/>
                  </a:ext>
                </a:extLst>
              </p:cNvPr>
              <p:cNvSpPr/>
              <p:nvPr/>
            </p:nvSpPr>
            <p:spPr>
              <a:xfrm>
                <a:off x="3906941" y="2324686"/>
                <a:ext cx="29906" cy="190058"/>
              </a:xfrm>
              <a:custGeom>
                <a:avLst/>
                <a:gdLst>
                  <a:gd name="connsiteX0" fmla="*/ 14953 w 29906"/>
                  <a:gd name="connsiteY0" fmla="*/ 150 h 190058"/>
                  <a:gd name="connsiteX1" fmla="*/ 0 w 29906"/>
                  <a:gd name="connsiteY1" fmla="*/ 15103 h 190058"/>
                  <a:gd name="connsiteX2" fmla="*/ 0 w 29906"/>
                  <a:gd name="connsiteY2" fmla="*/ 175105 h 190058"/>
                  <a:gd name="connsiteX3" fmla="*/ 14953 w 29906"/>
                  <a:gd name="connsiteY3" fmla="*/ 190058 h 190058"/>
                  <a:gd name="connsiteX4" fmla="*/ 29907 w 29906"/>
                  <a:gd name="connsiteY4" fmla="*/ 175105 h 190058"/>
                  <a:gd name="connsiteX5" fmla="*/ 29907 w 29906"/>
                  <a:gd name="connsiteY5" fmla="*/ 14953 h 190058"/>
                  <a:gd name="connsiteX6" fmla="*/ 14953 w 29906"/>
                  <a:gd name="connsiteY6" fmla="*/ 0 h 190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06" h="190058">
                    <a:moveTo>
                      <a:pt x="14953" y="150"/>
                    </a:moveTo>
                    <a:cubicBezTo>
                      <a:pt x="6695" y="150"/>
                      <a:pt x="0" y="6844"/>
                      <a:pt x="0" y="15103"/>
                    </a:cubicBezTo>
                    <a:lnTo>
                      <a:pt x="0" y="175105"/>
                    </a:lnTo>
                    <a:cubicBezTo>
                      <a:pt x="0" y="183363"/>
                      <a:pt x="6695" y="190058"/>
                      <a:pt x="14953" y="190058"/>
                    </a:cubicBezTo>
                    <a:cubicBezTo>
                      <a:pt x="23212" y="190058"/>
                      <a:pt x="29907" y="183363"/>
                      <a:pt x="29907" y="175105"/>
                    </a:cubicBezTo>
                    <a:lnTo>
                      <a:pt x="29907" y="14953"/>
                    </a:lnTo>
                    <a:cubicBezTo>
                      <a:pt x="29907" y="6695"/>
                      <a:pt x="23212" y="0"/>
                      <a:pt x="14953" y="0"/>
                    </a:cubicBezTo>
                  </a:path>
                </a:pathLst>
              </a:custGeom>
              <a:solidFill>
                <a:srgbClr val="2699D6"/>
              </a:solidFill>
              <a:ln w="149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noProof="0" dirty="0"/>
              </a:p>
            </p:txBody>
          </p:sp>
        </p:grpSp>
      </p:grpSp>
      <p:sp>
        <p:nvSpPr>
          <p:cNvPr id="208" name="Text Placeholder 19">
            <a:extLst>
              <a:ext uri="{FF2B5EF4-FFF2-40B4-BE49-F238E27FC236}">
                <a16:creationId xmlns:a16="http://schemas.microsoft.com/office/drawing/2014/main" id="{24F31F3D-5CF5-A137-3048-6E254994FAE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68491" y="8256188"/>
            <a:ext cx="6222689" cy="1392025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 dirty="0"/>
              <a:t>Insérer text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E5D21C78-8885-3BBA-2546-778DAD301F08}"/>
              </a:ext>
            </a:extLst>
          </p:cNvPr>
          <p:cNvSpPr txBox="1">
            <a:spLocks/>
          </p:cNvSpPr>
          <p:nvPr userDrawn="1"/>
        </p:nvSpPr>
        <p:spPr>
          <a:xfrm>
            <a:off x="1120366" y="10242623"/>
            <a:ext cx="2325423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fr-FR" sz="1000" kern="1200" noProof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prospectiveatlas@opco-atlas.fr</a:t>
            </a:r>
          </a:p>
        </p:txBody>
      </p:sp>
    </p:spTree>
    <p:extLst>
      <p:ext uri="{BB962C8B-B14F-4D97-AF65-F5344CB8AC3E}">
        <p14:creationId xmlns:p14="http://schemas.microsoft.com/office/powerpoint/2010/main" val="616493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oleObject" Target="../embeddings/oleObject3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4.bin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oleObject" Target="../embeddings/oleObject6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8.xml"/><Relationship Id="rId11" Type="http://schemas.openxmlformats.org/officeDocument/2006/relationships/oleObject" Target="../embeddings/oleObject8.bin"/><Relationship Id="rId5" Type="http://schemas.openxmlformats.org/officeDocument/2006/relationships/theme" Target="../theme/them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.xml"/><Relationship Id="rId9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oleObject" Target="../embeddings/oleObject1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5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4.xml"/><Relationship Id="rId9" Type="http://schemas.openxmlformats.org/officeDocument/2006/relationships/oleObject" Target="../embeddings/oleObject14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16.bin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oleObject" Target="../embeddings/oleObject1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A9B991-7EBC-8B31-529E-7D2A335D8DC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A9B991-7EBC-8B31-529E-7D2A335D8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AC1643C-AA31-C6DB-B645-D246FABE2D65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C1643C-AA31-C6DB-B645-D246FABE2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F3327F-F405-85B4-EC9F-0D6C8768BEAF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3327F-F405-85B4-EC9F-0D6C8768B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036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</p:sldLayoutIdLst>
  <p:hf sldNum="0" hdr="0" ftr="0"/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A9B991-7EBC-8B31-529E-7D2A335D8DC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A9B991-7EBC-8B31-529E-7D2A335D8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AC1643C-AA31-C6DB-B645-D246FABE2D65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C1643C-AA31-C6DB-B645-D246FABE2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F3327F-F405-85B4-EC9F-0D6C8768BEAF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3327F-F405-85B4-EC9F-0D6C8768B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5063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</p:sldLayoutIdLst>
  <p:hf sldNum="0" hdr="0" ftr="0"/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A9B991-7EBC-8B31-529E-7D2A335D8DC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A9B991-7EBC-8B31-529E-7D2A335D8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AC1643C-AA31-C6DB-B645-D246FABE2D65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C1643C-AA31-C6DB-B645-D246FABE2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F3327F-F405-85B4-EC9F-0D6C8768BEAF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3327F-F405-85B4-EC9F-0D6C8768B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64824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5" r:id="rId2"/>
    <p:sldLayoutId id="2147483827" r:id="rId3"/>
    <p:sldLayoutId id="2147483826" r:id="rId4"/>
  </p:sldLayoutIdLst>
  <p:hf sldNum="0" hdr="0" ftr="0"/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A9B991-7EBC-8B31-529E-7D2A335D8DC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A9B991-7EBC-8B31-529E-7D2A335D8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AC1643C-AA31-C6DB-B645-D246FABE2D65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C1643C-AA31-C6DB-B645-D246FABE2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F3327F-F405-85B4-EC9F-0D6C8768BEAF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3327F-F405-85B4-EC9F-0D6C8768B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8228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</p:sldLayoutIdLst>
  <p:hf sldNum="0" hdr="0" ftr="0"/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A9B991-7EBC-8B31-529E-7D2A335D8DC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A9B991-7EBC-8B31-529E-7D2A335D8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AC1643C-AA31-C6DB-B645-D246FABE2D65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C1643C-AA31-C6DB-B645-D246FABE2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F3327F-F405-85B4-EC9F-0D6C8768BEAF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3327F-F405-85B4-EC9F-0D6C8768B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3492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</p:sldLayoutIdLst>
  <p:hf sldNum="0" hdr="0" ftr="0"/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A9B991-7EBC-8B31-529E-7D2A335D8DC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A9B991-7EBC-8B31-529E-7D2A335D8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AC1643C-AA31-C6DB-B645-D246FABE2D65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C1643C-AA31-C6DB-B645-D246FABE2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F3327F-F405-85B4-EC9F-0D6C8768BEAF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9109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3327F-F405-85B4-EC9F-0D6C8768B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83264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</p:sldLayoutIdLst>
  <p:hf sldNum="0" hdr="0" ftr="0"/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9.svg"/><Relationship Id="rId7" Type="http://schemas.openxmlformats.org/officeDocument/2006/relationships/image" Target="../media/image7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9.sv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26" Type="http://schemas.openxmlformats.org/officeDocument/2006/relationships/image" Target="../media/image52.png"/><Relationship Id="rId39" Type="http://schemas.openxmlformats.org/officeDocument/2006/relationships/image" Target="../media/image65.png"/><Relationship Id="rId21" Type="http://schemas.openxmlformats.org/officeDocument/2006/relationships/image" Target="../media/image47.png"/><Relationship Id="rId34" Type="http://schemas.openxmlformats.org/officeDocument/2006/relationships/image" Target="../media/image60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29" Type="http://schemas.openxmlformats.org/officeDocument/2006/relationships/image" Target="../media/image55.png"/><Relationship Id="rId41" Type="http://schemas.openxmlformats.org/officeDocument/2006/relationships/image" Target="../media/image6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24" Type="http://schemas.openxmlformats.org/officeDocument/2006/relationships/image" Target="../media/image50.png"/><Relationship Id="rId32" Type="http://schemas.openxmlformats.org/officeDocument/2006/relationships/image" Target="../media/image58.png"/><Relationship Id="rId37" Type="http://schemas.openxmlformats.org/officeDocument/2006/relationships/image" Target="../media/image63.png"/><Relationship Id="rId40" Type="http://schemas.openxmlformats.org/officeDocument/2006/relationships/image" Target="../media/image66.png"/><Relationship Id="rId5" Type="http://schemas.openxmlformats.org/officeDocument/2006/relationships/image" Target="../media/image31.png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28" Type="http://schemas.openxmlformats.org/officeDocument/2006/relationships/image" Target="../media/image54.png"/><Relationship Id="rId36" Type="http://schemas.openxmlformats.org/officeDocument/2006/relationships/image" Target="../media/image62.png"/><Relationship Id="rId10" Type="http://schemas.openxmlformats.org/officeDocument/2006/relationships/image" Target="../media/image36.png"/><Relationship Id="rId19" Type="http://schemas.openxmlformats.org/officeDocument/2006/relationships/image" Target="../media/image45.png"/><Relationship Id="rId31" Type="http://schemas.openxmlformats.org/officeDocument/2006/relationships/image" Target="../media/image57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png"/><Relationship Id="rId22" Type="http://schemas.openxmlformats.org/officeDocument/2006/relationships/image" Target="../media/image48.png"/><Relationship Id="rId27" Type="http://schemas.openxmlformats.org/officeDocument/2006/relationships/image" Target="../media/image53.png"/><Relationship Id="rId30" Type="http://schemas.openxmlformats.org/officeDocument/2006/relationships/image" Target="../media/image56.png"/><Relationship Id="rId35" Type="http://schemas.openxmlformats.org/officeDocument/2006/relationships/image" Target="../media/image61.png"/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5" Type="http://schemas.openxmlformats.org/officeDocument/2006/relationships/image" Target="../media/image51.png"/><Relationship Id="rId33" Type="http://schemas.openxmlformats.org/officeDocument/2006/relationships/image" Target="../media/image59.png"/><Relationship Id="rId38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svg"/><Relationship Id="rId5" Type="http://schemas.openxmlformats.org/officeDocument/2006/relationships/image" Target="../media/image12.png"/><Relationship Id="rId4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62DC27-8B29-8D2C-3684-AB6E1FECE95F}"/>
              </a:ext>
            </a:extLst>
          </p:cNvPr>
          <p:cNvSpPr/>
          <p:nvPr/>
        </p:nvSpPr>
        <p:spPr>
          <a:xfrm>
            <a:off x="0" y="0"/>
            <a:ext cx="7559675" cy="21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64EFBB4-22A8-B9B0-B645-DCC1868AE3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039" r="17486"/>
          <a:stretch/>
        </p:blipFill>
        <p:spPr>
          <a:xfrm>
            <a:off x="3779837" y="1135255"/>
            <a:ext cx="3779838" cy="87396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6F353FA-AF57-456F-3C1D-78A6A4DB482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61206"/>
          <a:stretch/>
        </p:blipFill>
        <p:spPr>
          <a:xfrm>
            <a:off x="5742875" y="0"/>
            <a:ext cx="1148307" cy="720000"/>
          </a:xfrm>
          <a:prstGeom prst="rect">
            <a:avLst/>
          </a:prstGeom>
        </p:spPr>
      </p:pic>
      <p:sp>
        <p:nvSpPr>
          <p:cNvPr id="15" name="Title 17">
            <a:extLst>
              <a:ext uri="{FF2B5EF4-FFF2-40B4-BE49-F238E27FC236}">
                <a16:creationId xmlns:a16="http://schemas.microsoft.com/office/drawing/2014/main" id="{8E13B147-C58E-8A28-EC89-4ABE6210B258}"/>
              </a:ext>
            </a:extLst>
          </p:cNvPr>
          <p:cNvSpPr txBox="1">
            <a:spLocks/>
          </p:cNvSpPr>
          <p:nvPr/>
        </p:nvSpPr>
        <p:spPr>
          <a:xfrm>
            <a:off x="668492" y="316444"/>
            <a:ext cx="5760000" cy="9848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75593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0" kern="1200" cap="all" spc="0" baseline="0">
                <a:solidFill>
                  <a:schemeClr val="accent3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fr-FR" sz="3200" cap="none" dirty="0">
                <a:solidFill>
                  <a:schemeClr val="bg2"/>
                </a:solidFill>
                <a:latin typeface="+mj-lt"/>
                <a:cs typeface="+mj-cs"/>
              </a:rPr>
              <a:t>UTILISATION</a:t>
            </a:r>
          </a:p>
          <a:p>
            <a:r>
              <a:rPr lang="fr-FR" sz="3200" cap="none" dirty="0">
                <a:solidFill>
                  <a:schemeClr val="bg2"/>
                </a:solidFill>
                <a:latin typeface="+mj-lt"/>
                <a:cs typeface="+mj-cs"/>
              </a:rPr>
              <a:t>DU POWERPOINT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D7081C27-68AD-FCE9-A6A9-03F78934A9B3}"/>
              </a:ext>
            </a:extLst>
          </p:cNvPr>
          <p:cNvSpPr txBox="1">
            <a:spLocks/>
          </p:cNvSpPr>
          <p:nvPr/>
        </p:nvSpPr>
        <p:spPr>
          <a:xfrm>
            <a:off x="0" y="772886"/>
            <a:ext cx="432000" cy="72000"/>
          </a:xfrm>
          <a:prstGeom prst="rect">
            <a:avLst/>
          </a:prstGeom>
          <a:solidFill>
            <a:schemeClr val="tx2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sz="1200" cap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9DB436-7619-75CF-ABC3-397994C618EE}"/>
              </a:ext>
            </a:extLst>
          </p:cNvPr>
          <p:cNvSpPr/>
          <p:nvPr/>
        </p:nvSpPr>
        <p:spPr>
          <a:xfrm>
            <a:off x="668492" y="1601906"/>
            <a:ext cx="6222690" cy="10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0EDA8524-089B-050D-9963-436030B7CBC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216"/>
          <a:stretch/>
        </p:blipFill>
        <p:spPr>
          <a:xfrm flipH="1">
            <a:off x="0" y="9149373"/>
            <a:ext cx="1475835" cy="873960"/>
          </a:xfrm>
          <a:prstGeom prst="rect">
            <a:avLst/>
          </a:prstGeom>
        </p:spPr>
      </p:pic>
      <p:sp>
        <p:nvSpPr>
          <p:cNvPr id="21" name="Text Placeholder 36">
            <a:extLst>
              <a:ext uri="{FF2B5EF4-FFF2-40B4-BE49-F238E27FC236}">
                <a16:creationId xmlns:a16="http://schemas.microsoft.com/office/drawing/2014/main" id="{83AE3F97-9AFF-BF01-8CDD-BE320837BFF6}"/>
              </a:ext>
            </a:extLst>
          </p:cNvPr>
          <p:cNvSpPr txBox="1">
            <a:spLocks/>
          </p:cNvSpPr>
          <p:nvPr/>
        </p:nvSpPr>
        <p:spPr>
          <a:xfrm>
            <a:off x="899838" y="1872000"/>
            <a:ext cx="2160000" cy="288000"/>
          </a:xfrm>
          <a:prstGeom prst="rect">
            <a:avLst/>
          </a:prstGeom>
          <a:solidFill>
            <a:schemeClr val="tx2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200" cap="none" dirty="0">
                <a:solidFill>
                  <a:srgbClr val="FFFFFF"/>
                </a:solidFill>
                <a:latin typeface="+mj-lt"/>
              </a:rPr>
              <a:t>1. Les  masqu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5DEB5E66-85E3-7A47-48C6-EB0871BA66ED}"/>
              </a:ext>
            </a:extLst>
          </p:cNvPr>
          <p:cNvSpPr txBox="1">
            <a:spLocks/>
          </p:cNvSpPr>
          <p:nvPr/>
        </p:nvSpPr>
        <p:spPr>
          <a:xfrm>
            <a:off x="1187839" y="2287935"/>
            <a:ext cx="1871998" cy="14311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fr-FR" dirty="0">
                <a:solidFill>
                  <a:schemeClr val="bg2"/>
                </a:solidFill>
                <a:latin typeface="+mn-lt"/>
              </a:rPr>
              <a:t>Les masques PowerPoint sont déclinés spécifiquement selon le typologie de page souhaitée.</a:t>
            </a:r>
          </a:p>
          <a:p>
            <a:pPr>
              <a:spcAft>
                <a:spcPts val="600"/>
              </a:spcAft>
            </a:pPr>
            <a:r>
              <a:rPr lang="fr-FR" dirty="0">
                <a:solidFill>
                  <a:schemeClr val="bg2"/>
                </a:solidFill>
                <a:latin typeface="+mn-lt"/>
              </a:rPr>
              <a:t>Sélectionnez la catégorie de slides correspondant à votre besoin.</a:t>
            </a:r>
          </a:p>
        </p:txBody>
      </p:sp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396BAB47-CAAE-61F2-634B-D6D405590669}"/>
              </a:ext>
            </a:extLst>
          </p:cNvPr>
          <p:cNvSpPr txBox="1">
            <a:spLocks/>
          </p:cNvSpPr>
          <p:nvPr/>
        </p:nvSpPr>
        <p:spPr>
          <a:xfrm>
            <a:off x="899837" y="4939081"/>
            <a:ext cx="2160000" cy="288000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200" cap="none" dirty="0">
                <a:solidFill>
                  <a:srgbClr val="FFFFFF"/>
                </a:solidFill>
                <a:latin typeface="+mj-lt"/>
              </a:rPr>
              <a:t>2. La typographie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565F1F6-A412-6153-BC34-93029F955708}"/>
              </a:ext>
            </a:extLst>
          </p:cNvPr>
          <p:cNvSpPr txBox="1">
            <a:spLocks/>
          </p:cNvSpPr>
          <p:nvPr/>
        </p:nvSpPr>
        <p:spPr>
          <a:xfrm>
            <a:off x="1187838" y="5356229"/>
            <a:ext cx="5184000" cy="8309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fr-FR" dirty="0">
                <a:solidFill>
                  <a:schemeClr val="bg2"/>
                </a:solidFill>
                <a:latin typeface="+mn-lt"/>
              </a:rPr>
              <a:t>La typographie à utiliser est Montserrat dans toutes ses déclinaisons.</a:t>
            </a:r>
          </a:p>
          <a:p>
            <a:pPr>
              <a:spcAft>
                <a:spcPts val="600"/>
              </a:spcAft>
            </a:pPr>
            <a:r>
              <a:rPr lang="fr-FR" dirty="0">
                <a:solidFill>
                  <a:schemeClr val="bg2"/>
                </a:solidFill>
                <a:latin typeface="+mn-lt"/>
              </a:rPr>
              <a:t>Montserrat est une typographie Google font, identitaire de </a:t>
            </a:r>
            <a:r>
              <a:rPr lang="fr-FR">
                <a:solidFill>
                  <a:schemeClr val="bg2"/>
                </a:solidFill>
                <a:latin typeface="+mn-lt"/>
              </a:rPr>
              <a:t>Omeca</a:t>
            </a:r>
            <a:r>
              <a:rPr lang="fr-FR" dirty="0">
                <a:solidFill>
                  <a:schemeClr val="bg2"/>
                </a:solidFill>
                <a:latin typeface="+mn-lt"/>
              </a:rPr>
              <a:t>. Pour garantir son bon affichage quel que soit l’utilisateur, la typographie a été embarquée dans le fichier </a:t>
            </a:r>
            <a:r>
              <a:rPr lang="fr-FR" dirty="0" err="1">
                <a:solidFill>
                  <a:schemeClr val="bg2"/>
                </a:solidFill>
                <a:latin typeface="+mn-lt"/>
              </a:rPr>
              <a:t>powerpoint</a:t>
            </a:r>
            <a:r>
              <a:rPr lang="fr-FR" dirty="0">
                <a:solidFill>
                  <a:schemeClr val="bg2"/>
                </a:solidFill>
                <a:latin typeface="+mn-lt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fr-FR" dirty="0">
                <a:solidFill>
                  <a:schemeClr val="bg2"/>
                </a:solidFill>
                <a:latin typeface="+mn-lt"/>
              </a:rPr>
              <a:t>Les préconisations de style sont :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288E69E4-EFF2-676F-2EC7-74C91F4DFF3D}"/>
              </a:ext>
            </a:extLst>
          </p:cNvPr>
          <p:cNvSpPr txBox="1">
            <a:spLocks/>
          </p:cNvSpPr>
          <p:nvPr/>
        </p:nvSpPr>
        <p:spPr>
          <a:xfrm>
            <a:off x="1187838" y="6395999"/>
            <a:ext cx="5256000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fr-FR" sz="1800" b="1" dirty="0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Titre d’une partie en Montserrat </a:t>
            </a:r>
            <a:r>
              <a:rPr lang="fr-FR" sz="1800" b="1" dirty="0" err="1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bold</a:t>
            </a:r>
            <a:r>
              <a:rPr lang="fr-FR" sz="1800" b="1" dirty="0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, 24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7C399AC-0707-6E1D-FA48-C17A05DF4C2E}"/>
              </a:ext>
            </a:extLst>
          </p:cNvPr>
          <p:cNvSpPr txBox="1">
            <a:spLocks/>
          </p:cNvSpPr>
          <p:nvPr/>
        </p:nvSpPr>
        <p:spPr>
          <a:xfrm>
            <a:off x="1187838" y="6689851"/>
            <a:ext cx="5256000" cy="6309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fr-FR" dirty="0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Contenu corps de texte</a:t>
            </a:r>
          </a:p>
          <a:p>
            <a:pPr marL="171450" indent="-17145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en Montserrat </a:t>
            </a:r>
            <a:r>
              <a:rPr lang="fr-FR" dirty="0" err="1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regular</a:t>
            </a:r>
            <a:r>
              <a:rPr lang="fr-FR" dirty="0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, 11pt, anthracite #3E3E3C</a:t>
            </a:r>
          </a:p>
          <a:p>
            <a:pPr marL="171450" indent="-17145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en Montserrat</a:t>
            </a:r>
            <a:r>
              <a:rPr lang="fr-FR" b="1" dirty="0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 </a:t>
            </a:r>
            <a:r>
              <a:rPr lang="fr-FR" b="1" dirty="0" err="1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bold</a:t>
            </a:r>
            <a:r>
              <a:rPr lang="fr-FR" dirty="0">
                <a:solidFill>
                  <a:schemeClr val="bg2"/>
                </a:solidFill>
                <a:latin typeface="Montserrat" pitchFamily="2" charset="77"/>
                <a:cs typeface="Arial" panose="020B0604020202020204" pitchFamily="34" charset="0"/>
              </a:rPr>
              <a:t>, 11pts, anthracite #3E3E3C pour mettre en avant des textes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5C3B2259-73D7-0D73-481E-091B5F8A1D27}"/>
              </a:ext>
            </a:extLst>
          </p:cNvPr>
          <p:cNvSpPr txBox="1">
            <a:spLocks/>
          </p:cNvSpPr>
          <p:nvPr/>
        </p:nvSpPr>
        <p:spPr>
          <a:xfrm>
            <a:off x="899837" y="7869754"/>
            <a:ext cx="2160000" cy="288000"/>
          </a:xfrm>
          <a:prstGeom prst="rect">
            <a:avLst/>
          </a:prstGeom>
          <a:solidFill>
            <a:schemeClr val="accent3"/>
          </a:solidFill>
        </p:spPr>
        <p:txBody>
          <a:bodyPr wrap="square" lIns="144000" tIns="0" rIns="0" bIns="0" anchor="ctr">
            <a:noAutofit/>
          </a:bodyPr>
          <a:lstStyle>
            <a:lvl1pPr marL="0" indent="0" algn="ct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200" cap="none" dirty="0">
                <a:solidFill>
                  <a:srgbClr val="FFFFFF"/>
                </a:solidFill>
                <a:latin typeface="+mj-lt"/>
              </a:rPr>
              <a:t>3. Les couleurs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33444A1C-37EA-985C-B4BC-60501DFF9A12}"/>
              </a:ext>
            </a:extLst>
          </p:cNvPr>
          <p:cNvSpPr txBox="1">
            <a:spLocks/>
          </p:cNvSpPr>
          <p:nvPr/>
        </p:nvSpPr>
        <p:spPr>
          <a:xfrm>
            <a:off x="1187838" y="8286902"/>
            <a:ext cx="1871999" cy="8463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1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fr-FR" dirty="0">
                <a:solidFill>
                  <a:schemeClr val="bg2"/>
                </a:solidFill>
                <a:latin typeface="+mn-lt"/>
              </a:rPr>
              <a:t>Les couleurs de </a:t>
            </a:r>
            <a:r>
              <a:rPr lang="fr-FR" dirty="0" err="1">
                <a:solidFill>
                  <a:schemeClr val="bg2"/>
                </a:solidFill>
                <a:latin typeface="+mn-lt"/>
              </a:rPr>
              <a:t>Omeca</a:t>
            </a:r>
            <a:br>
              <a:rPr lang="fr-FR" dirty="0">
                <a:solidFill>
                  <a:schemeClr val="bg2"/>
                </a:solidFill>
                <a:latin typeface="+mn-lt"/>
              </a:rPr>
            </a:br>
            <a:r>
              <a:rPr lang="fr-FR" dirty="0">
                <a:solidFill>
                  <a:schemeClr val="bg2"/>
                </a:solidFill>
                <a:latin typeface="+mn-lt"/>
              </a:rPr>
              <a:t>sont paramétrées dans la palette du masque PowerPoint.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78DF7EC-CA13-0702-6813-CB8B5C9DA4B0}"/>
              </a:ext>
            </a:extLst>
          </p:cNvPr>
          <p:cNvSpPr/>
          <p:nvPr/>
        </p:nvSpPr>
        <p:spPr>
          <a:xfrm>
            <a:off x="6979125" y="10205814"/>
            <a:ext cx="216000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B22D6A13-C99B-4858-8A55-229195EC430D}" type="slidenum">
              <a:rPr lang="en-US" sz="800" smtClean="0">
                <a:solidFill>
                  <a:srgbClr val="FFFFFF"/>
                </a:solidFill>
              </a:rPr>
              <a:t>1</a:t>
            </a:fld>
            <a:endParaRPr lang="en-US" sz="800" dirty="0">
              <a:solidFill>
                <a:srgbClr val="FFFFFF"/>
              </a:solidFill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E7B6329-679C-051B-AB58-B9D99394A646}"/>
              </a:ext>
            </a:extLst>
          </p:cNvPr>
          <p:cNvCxnSpPr>
            <a:cxnSpLocks/>
          </p:cNvCxnSpPr>
          <p:nvPr/>
        </p:nvCxnSpPr>
        <p:spPr>
          <a:xfrm>
            <a:off x="876521" y="10313813"/>
            <a:ext cx="580663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>
            <a:extLst>
              <a:ext uri="{FF2B5EF4-FFF2-40B4-BE49-F238E27FC236}">
                <a16:creationId xmlns:a16="http://schemas.microsoft.com/office/drawing/2014/main" id="{6B1C4F99-85B5-777F-8906-CDC118B491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8934" y="1878228"/>
            <a:ext cx="3490357" cy="2236122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AE50BC9-7BAA-8540-5237-A2C07EC3AE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51126" y="7868057"/>
            <a:ext cx="24638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919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A large office with desks and computers&#10;&#10;Description automatically generated">
            <a:extLst>
              <a:ext uri="{FF2B5EF4-FFF2-40B4-BE49-F238E27FC236}">
                <a16:creationId xmlns:a16="http://schemas.microsoft.com/office/drawing/2014/main" id="{47F664D8-8E62-6CA9-BBBD-612E9F76A01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6" r="10076"/>
          <a:stretch/>
        </p:blipFill>
        <p:spPr/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BCEEEA3-3556-9BAB-EB24-B912D0879F2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FR" sz="1200" dirty="0">
                <a:solidFill>
                  <a:schemeClr val="bg2"/>
                </a:solidFill>
              </a:rPr>
              <a:t>Retrouvez le rapport complet de l’étude sur </a:t>
            </a:r>
            <a:r>
              <a:rPr lang="fr-FR" sz="1200" b="1" dirty="0">
                <a:solidFill>
                  <a:schemeClr val="tx2"/>
                </a:solidFill>
              </a:rPr>
              <a:t>www.metierscomptabilite.f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FR" sz="1200" dirty="0">
                <a:solidFill>
                  <a:schemeClr val="bg2"/>
                </a:solidFill>
              </a:rPr>
              <a:t>Étude réalisée par le cabinet XXX pour l’OMEC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FR" sz="1200" dirty="0">
                <a:solidFill>
                  <a:schemeClr val="bg2"/>
                </a:solidFill>
              </a:rPr>
              <a:t>Observatoire des Métiers de l’Expertise comptable, du Commissariat aux comptes et de l’Audit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CB6FC95-579C-3F1A-B6E7-145864D54BF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5586" t="68536" r="34757"/>
          <a:stretch/>
        </p:blipFill>
        <p:spPr>
          <a:xfrm flipH="1">
            <a:off x="-1" y="4917079"/>
            <a:ext cx="3779837" cy="35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5154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BCEEEA3-3556-9BAB-EB24-B912D0879F2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FR" sz="1200" dirty="0">
                <a:solidFill>
                  <a:schemeClr val="bg2"/>
                </a:solidFill>
              </a:rPr>
              <a:t>Retrouvez le rapport complet de l’étude sur </a:t>
            </a:r>
            <a:r>
              <a:rPr lang="fr-FR" sz="1200" b="1" dirty="0">
                <a:solidFill>
                  <a:schemeClr val="tx2"/>
                </a:solidFill>
              </a:rPr>
              <a:t>www.metierscomptabilite.f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FR" sz="1200" dirty="0">
                <a:solidFill>
                  <a:schemeClr val="bg2"/>
                </a:solidFill>
              </a:rPr>
              <a:t>Étude réalisée par le cabinet XXX pour l’OMEC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FR" sz="1200" dirty="0">
                <a:solidFill>
                  <a:schemeClr val="bg2"/>
                </a:solidFill>
              </a:rPr>
              <a:t>Observatoire des Métiers de l’Expertise comptable, du Commissariat aux comptes et de l’Audit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CB6FC95-579C-3F1A-B6E7-145864D54B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5586" t="68536" r="34757"/>
          <a:stretch/>
        </p:blipFill>
        <p:spPr>
          <a:xfrm flipH="1">
            <a:off x="-1" y="4917079"/>
            <a:ext cx="3779837" cy="35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0202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2" descr="A picture containing screenshot, symbol, design&#10;&#10;Description automatically generated">
            <a:extLst>
              <a:ext uri="{FF2B5EF4-FFF2-40B4-BE49-F238E27FC236}">
                <a16:creationId xmlns:a16="http://schemas.microsoft.com/office/drawing/2014/main" id="{69DE2A22-E174-187D-C307-746C0538D2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448" y="685755"/>
            <a:ext cx="720000" cy="720000"/>
          </a:xfrm>
          <a:prstGeom prst="rect">
            <a:avLst/>
          </a:prstGeom>
        </p:spPr>
      </p:pic>
      <p:pic>
        <p:nvPicPr>
          <p:cNvPr id="3" name="Picture 143" descr="A picture containing graphics, symbol, font, circle&#10;&#10;Description automatically generated">
            <a:extLst>
              <a:ext uri="{FF2B5EF4-FFF2-40B4-BE49-F238E27FC236}">
                <a16:creationId xmlns:a16="http://schemas.microsoft.com/office/drawing/2014/main" id="{5AAB6BD6-A6A9-24E4-B4AD-1868489C89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081" y="9286057"/>
            <a:ext cx="720000" cy="720000"/>
          </a:xfrm>
          <a:prstGeom prst="rect">
            <a:avLst/>
          </a:prstGeom>
        </p:spPr>
      </p:pic>
      <p:pic>
        <p:nvPicPr>
          <p:cNvPr id="4" name="Picture 144" descr="A picture containing symbol, graphics, font, logo&#10;&#10;Description automatically generated">
            <a:extLst>
              <a:ext uri="{FF2B5EF4-FFF2-40B4-BE49-F238E27FC236}">
                <a16:creationId xmlns:a16="http://schemas.microsoft.com/office/drawing/2014/main" id="{35FC31B5-D10B-D934-AF8C-75E77F30EA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308" y="9286057"/>
            <a:ext cx="720000" cy="720000"/>
          </a:xfrm>
          <a:prstGeom prst="rect">
            <a:avLst/>
          </a:prstGeom>
        </p:spPr>
      </p:pic>
      <p:pic>
        <p:nvPicPr>
          <p:cNvPr id="45" name="Picture 145" descr="A picture containing screenshot, design&#10;&#10;Description automatically generated">
            <a:extLst>
              <a:ext uri="{FF2B5EF4-FFF2-40B4-BE49-F238E27FC236}">
                <a16:creationId xmlns:a16="http://schemas.microsoft.com/office/drawing/2014/main" id="{DE8FB10E-B0EB-18D6-5C62-0D5CDAEB2A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817" y="9286057"/>
            <a:ext cx="720000" cy="720000"/>
          </a:xfrm>
          <a:prstGeom prst="rect">
            <a:avLst/>
          </a:prstGeom>
        </p:spPr>
      </p:pic>
      <p:pic>
        <p:nvPicPr>
          <p:cNvPr id="46" name="Picture 146" descr="A group of people in line&#10;&#10;Description automatically generated with low confidence">
            <a:extLst>
              <a:ext uri="{FF2B5EF4-FFF2-40B4-BE49-F238E27FC236}">
                <a16:creationId xmlns:a16="http://schemas.microsoft.com/office/drawing/2014/main" id="{5C0427DD-9013-0261-73CF-7EE5D41D67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448" y="8057445"/>
            <a:ext cx="720000" cy="720000"/>
          </a:xfrm>
          <a:prstGeom prst="rect">
            <a:avLst/>
          </a:prstGeom>
        </p:spPr>
      </p:pic>
      <p:pic>
        <p:nvPicPr>
          <p:cNvPr id="47" name="Picture 147" descr="A blue outline of a star&#10;&#10;Description automatically generated with low confidence">
            <a:extLst>
              <a:ext uri="{FF2B5EF4-FFF2-40B4-BE49-F238E27FC236}">
                <a16:creationId xmlns:a16="http://schemas.microsoft.com/office/drawing/2014/main" id="{9FFBC0BF-9D70-50E2-5841-530EF3FE659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462" y="8057445"/>
            <a:ext cx="720000" cy="720000"/>
          </a:xfrm>
          <a:prstGeom prst="rect">
            <a:avLst/>
          </a:prstGeom>
        </p:spPr>
      </p:pic>
      <p:pic>
        <p:nvPicPr>
          <p:cNvPr id="48" name="Picture 148" descr="A picture containing circle, graphics, black, darkness&#10;&#10;Description automatically generated">
            <a:extLst>
              <a:ext uri="{FF2B5EF4-FFF2-40B4-BE49-F238E27FC236}">
                <a16:creationId xmlns:a16="http://schemas.microsoft.com/office/drawing/2014/main" id="{1C1F3397-E74F-2BCF-C87C-00A004C465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308" y="8057445"/>
            <a:ext cx="720000" cy="720000"/>
          </a:xfrm>
          <a:prstGeom prst="rect">
            <a:avLst/>
          </a:prstGeom>
        </p:spPr>
      </p:pic>
      <p:pic>
        <p:nvPicPr>
          <p:cNvPr id="49" name="Picture 149" descr="A logo of a person and a square&#10;&#10;Description automatically generated with low confidence">
            <a:extLst>
              <a:ext uri="{FF2B5EF4-FFF2-40B4-BE49-F238E27FC236}">
                <a16:creationId xmlns:a16="http://schemas.microsoft.com/office/drawing/2014/main" id="{075ED169-ECDC-8556-64D3-1CD3233A9D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436" y="8057445"/>
            <a:ext cx="720000" cy="720000"/>
          </a:xfrm>
          <a:prstGeom prst="rect">
            <a:avLst/>
          </a:prstGeom>
        </p:spPr>
      </p:pic>
      <p:pic>
        <p:nvPicPr>
          <p:cNvPr id="50" name="Picture 150" descr="A logo of a graduation cap&#10;&#10;Description automatically generated with low confidence">
            <a:extLst>
              <a:ext uri="{FF2B5EF4-FFF2-40B4-BE49-F238E27FC236}">
                <a16:creationId xmlns:a16="http://schemas.microsoft.com/office/drawing/2014/main" id="{B67C50E1-3BA1-AB45-1DCE-2838DC8DD7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448" y="6828830"/>
            <a:ext cx="720000" cy="720000"/>
          </a:xfrm>
          <a:prstGeom prst="rect">
            <a:avLst/>
          </a:prstGeom>
        </p:spPr>
      </p:pic>
      <p:pic>
        <p:nvPicPr>
          <p:cNvPr id="51" name="Picture 151" descr="A blue ribbon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0060E5D-4BE6-1B44-82F7-3542FDDE3C9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462" y="6828830"/>
            <a:ext cx="720000" cy="720000"/>
          </a:xfrm>
          <a:prstGeom prst="rect">
            <a:avLst/>
          </a:prstGeom>
        </p:spPr>
      </p:pic>
      <p:pic>
        <p:nvPicPr>
          <p:cNvPr id="52" name="Picture 152" descr="A picture containing symbol, graphics, font, screenshot&#10;&#10;Description automatically generated">
            <a:extLst>
              <a:ext uri="{FF2B5EF4-FFF2-40B4-BE49-F238E27FC236}">
                <a16:creationId xmlns:a16="http://schemas.microsoft.com/office/drawing/2014/main" id="{A5972341-E488-9A19-0F89-4D26CA22857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308" y="6828830"/>
            <a:ext cx="720000" cy="720000"/>
          </a:xfrm>
          <a:prstGeom prst="rect">
            <a:avLst/>
          </a:prstGeom>
        </p:spPr>
      </p:pic>
      <p:pic>
        <p:nvPicPr>
          <p:cNvPr id="53" name="Picture 153" descr="A picture containing circle, symbol, graphics, logo&#10;&#10;Description automatically generated">
            <a:extLst>
              <a:ext uri="{FF2B5EF4-FFF2-40B4-BE49-F238E27FC236}">
                <a16:creationId xmlns:a16="http://schemas.microsoft.com/office/drawing/2014/main" id="{AB3DD662-E477-52BC-DCBA-8D638295C1A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436" y="6828830"/>
            <a:ext cx="720000" cy="720000"/>
          </a:xfrm>
          <a:prstGeom prst="rect">
            <a:avLst/>
          </a:prstGeom>
        </p:spPr>
      </p:pic>
      <p:pic>
        <p:nvPicPr>
          <p:cNvPr id="54" name="Picture 190" descr="A picture containing symbol, circle, logo&#10;&#10;Description automatically generated">
            <a:extLst>
              <a:ext uri="{FF2B5EF4-FFF2-40B4-BE49-F238E27FC236}">
                <a16:creationId xmlns:a16="http://schemas.microsoft.com/office/drawing/2014/main" id="{62D40701-B7FD-140B-F9C7-7355FDE8AED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448" y="5600215"/>
            <a:ext cx="720000" cy="720000"/>
          </a:xfrm>
          <a:prstGeom prst="rect">
            <a:avLst/>
          </a:prstGeom>
        </p:spPr>
      </p:pic>
      <p:pic>
        <p:nvPicPr>
          <p:cNvPr id="55" name="Picture 194" descr="A picture containing symbol, font, graphics, logo&#10;&#10;Description automatically generated">
            <a:extLst>
              <a:ext uri="{FF2B5EF4-FFF2-40B4-BE49-F238E27FC236}">
                <a16:creationId xmlns:a16="http://schemas.microsoft.com/office/drawing/2014/main" id="{CADB4BF1-A876-3496-94CE-4CFE466C949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081" y="5600215"/>
            <a:ext cx="720000" cy="720000"/>
          </a:xfrm>
          <a:prstGeom prst="rect">
            <a:avLst/>
          </a:prstGeom>
        </p:spPr>
      </p:pic>
      <p:pic>
        <p:nvPicPr>
          <p:cNvPr id="56" name="Picture 195" descr="A purple symbol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72E7DD8-B4B5-992A-530D-7EAED10750B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308" y="5600215"/>
            <a:ext cx="720000" cy="720000"/>
          </a:xfrm>
          <a:prstGeom prst="rect">
            <a:avLst/>
          </a:prstGeom>
        </p:spPr>
      </p:pic>
      <p:pic>
        <p:nvPicPr>
          <p:cNvPr id="57" name="Picture 196" descr="A picture containing black, darkness, graphics&#10;&#10;Description automatically generated">
            <a:extLst>
              <a:ext uri="{FF2B5EF4-FFF2-40B4-BE49-F238E27FC236}">
                <a16:creationId xmlns:a16="http://schemas.microsoft.com/office/drawing/2014/main" id="{5C70644B-D3BB-09CE-3729-481E2911009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817" y="5600215"/>
            <a:ext cx="720000" cy="720000"/>
          </a:xfrm>
          <a:prstGeom prst="rect">
            <a:avLst/>
          </a:prstGeom>
        </p:spPr>
      </p:pic>
      <p:pic>
        <p:nvPicPr>
          <p:cNvPr id="58" name="Picture 197" descr="A picture containing circle, symbol, logo&#10;&#10;Description automatically generated">
            <a:extLst>
              <a:ext uri="{FF2B5EF4-FFF2-40B4-BE49-F238E27FC236}">
                <a16:creationId xmlns:a16="http://schemas.microsoft.com/office/drawing/2014/main" id="{7F21BBDC-A84F-2C16-3219-45AB7A08CDF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448" y="4371600"/>
            <a:ext cx="720000" cy="720000"/>
          </a:xfrm>
          <a:prstGeom prst="rect">
            <a:avLst/>
          </a:prstGeom>
        </p:spPr>
      </p:pic>
      <p:pic>
        <p:nvPicPr>
          <p:cNvPr id="59" name="Picture 198" descr="A picture containing circle, graphics&#10;&#10;Description automatically generated">
            <a:extLst>
              <a:ext uri="{FF2B5EF4-FFF2-40B4-BE49-F238E27FC236}">
                <a16:creationId xmlns:a16="http://schemas.microsoft.com/office/drawing/2014/main" id="{FAF2AF6F-D003-0EF5-BB2E-45E8D63B883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081" y="4371600"/>
            <a:ext cx="720000" cy="720000"/>
          </a:xfrm>
          <a:prstGeom prst="rect">
            <a:avLst/>
          </a:prstGeom>
        </p:spPr>
      </p:pic>
      <p:pic>
        <p:nvPicPr>
          <p:cNvPr id="60" name="Picture 199" descr="A camera logo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92D257A-BF78-9A9D-AA84-7F0980005EA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308" y="4371600"/>
            <a:ext cx="720000" cy="720000"/>
          </a:xfrm>
          <a:prstGeom prst="rect">
            <a:avLst/>
          </a:prstGeom>
        </p:spPr>
      </p:pic>
      <p:pic>
        <p:nvPicPr>
          <p:cNvPr id="61" name="Picture 200" descr="A picture containing circle, graphics, black, darkness&#10;&#10;Description automatically generated">
            <a:extLst>
              <a:ext uri="{FF2B5EF4-FFF2-40B4-BE49-F238E27FC236}">
                <a16:creationId xmlns:a16="http://schemas.microsoft.com/office/drawing/2014/main" id="{CA667429-20D4-B807-DB22-83F73D5A92B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436" y="4371600"/>
            <a:ext cx="720000" cy="720000"/>
          </a:xfrm>
          <a:prstGeom prst="rect">
            <a:avLst/>
          </a:prstGeom>
        </p:spPr>
      </p:pic>
      <p:pic>
        <p:nvPicPr>
          <p:cNvPr id="62" name="Picture 201" descr="A picture containing symbol&#10;&#10;Description automatically generated">
            <a:extLst>
              <a:ext uri="{FF2B5EF4-FFF2-40B4-BE49-F238E27FC236}">
                <a16:creationId xmlns:a16="http://schemas.microsoft.com/office/drawing/2014/main" id="{15593745-79EE-00A4-C45B-BE4735101C2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448" y="3142985"/>
            <a:ext cx="720000" cy="720000"/>
          </a:xfrm>
          <a:prstGeom prst="rect">
            <a:avLst/>
          </a:prstGeom>
        </p:spPr>
      </p:pic>
      <p:pic>
        <p:nvPicPr>
          <p:cNvPr id="63" name="Picture 202" descr="A picture containing graphics, symbol, black, design&#10;&#10;Description automatically generated">
            <a:extLst>
              <a:ext uri="{FF2B5EF4-FFF2-40B4-BE49-F238E27FC236}">
                <a16:creationId xmlns:a16="http://schemas.microsoft.com/office/drawing/2014/main" id="{04A01F2B-EA91-D34C-1B92-F8289C78B07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081" y="3142985"/>
            <a:ext cx="720000" cy="720000"/>
          </a:xfrm>
          <a:prstGeom prst="rect">
            <a:avLst/>
          </a:prstGeom>
        </p:spPr>
      </p:pic>
      <p:pic>
        <p:nvPicPr>
          <p:cNvPr id="64" name="Picture 203" descr="A key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AAE2B733-CDA9-2ECA-A60F-3CADA82C99F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2102" y="3142985"/>
            <a:ext cx="720000" cy="720000"/>
          </a:xfrm>
          <a:prstGeom prst="rect">
            <a:avLst/>
          </a:prstGeom>
        </p:spPr>
      </p:pic>
      <p:pic>
        <p:nvPicPr>
          <p:cNvPr id="65" name="Picture 204" descr="A picture containing symbol, graphics, screenshot, design&#10;&#10;Description automatically generated">
            <a:extLst>
              <a:ext uri="{FF2B5EF4-FFF2-40B4-BE49-F238E27FC236}">
                <a16:creationId xmlns:a16="http://schemas.microsoft.com/office/drawing/2014/main" id="{03AA194B-C079-4E2A-6F04-AE096B0E95A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817" y="3142985"/>
            <a:ext cx="720000" cy="720000"/>
          </a:xfrm>
          <a:prstGeom prst="rect">
            <a:avLst/>
          </a:prstGeom>
        </p:spPr>
      </p:pic>
      <p:pic>
        <p:nvPicPr>
          <p:cNvPr id="66" name="Picture 205" descr="A picture containing symbol, logo, design&#10;&#10;Description automatically generated">
            <a:extLst>
              <a:ext uri="{FF2B5EF4-FFF2-40B4-BE49-F238E27FC236}">
                <a16:creationId xmlns:a16="http://schemas.microsoft.com/office/drawing/2014/main" id="{6377D503-0CFF-6ACB-D5E3-E225167DE43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448" y="1914370"/>
            <a:ext cx="720000" cy="720000"/>
          </a:xfrm>
          <a:prstGeom prst="rect">
            <a:avLst/>
          </a:prstGeom>
        </p:spPr>
      </p:pic>
      <p:pic>
        <p:nvPicPr>
          <p:cNvPr id="67" name="Picture 206" descr="A picture containing graphics, black&#10;&#10;Description automatically generated">
            <a:extLst>
              <a:ext uri="{FF2B5EF4-FFF2-40B4-BE49-F238E27FC236}">
                <a16:creationId xmlns:a16="http://schemas.microsoft.com/office/drawing/2014/main" id="{F6B43568-A616-6DF4-230C-C0ED3827844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462" y="1914370"/>
            <a:ext cx="720000" cy="720000"/>
          </a:xfrm>
          <a:prstGeom prst="rect">
            <a:avLst/>
          </a:prstGeom>
        </p:spPr>
      </p:pic>
      <p:pic>
        <p:nvPicPr>
          <p:cNvPr id="68" name="Picture 207" descr="A wifi symbol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852D6FEF-51AB-F717-815C-40B346BCB7C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308" y="1914370"/>
            <a:ext cx="720000" cy="720000"/>
          </a:xfrm>
          <a:prstGeom prst="rect">
            <a:avLst/>
          </a:prstGeom>
        </p:spPr>
      </p:pic>
      <p:pic>
        <p:nvPicPr>
          <p:cNvPr id="69" name="Picture 208" descr="A picture containing screenshot, rectangle, design&#10;&#10;Description automatically generated">
            <a:extLst>
              <a:ext uri="{FF2B5EF4-FFF2-40B4-BE49-F238E27FC236}">
                <a16:creationId xmlns:a16="http://schemas.microsoft.com/office/drawing/2014/main" id="{6E9C7BD5-B5D4-9038-62D5-9B5CFEC3ACB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436" y="1914370"/>
            <a:ext cx="720000" cy="720000"/>
          </a:xfrm>
          <a:prstGeom prst="rect">
            <a:avLst/>
          </a:prstGeom>
        </p:spPr>
      </p:pic>
      <p:pic>
        <p:nvPicPr>
          <p:cNvPr id="70" name="Picture 209" descr="A picture containing clock, circle, design&#10;&#10;Description automatically generated">
            <a:extLst>
              <a:ext uri="{FF2B5EF4-FFF2-40B4-BE49-F238E27FC236}">
                <a16:creationId xmlns:a16="http://schemas.microsoft.com/office/drawing/2014/main" id="{1FEA35D9-7A23-786A-C918-6D9D1301235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88" y="1914370"/>
            <a:ext cx="720000" cy="720000"/>
          </a:xfrm>
          <a:prstGeom prst="rect">
            <a:avLst/>
          </a:prstGeom>
        </p:spPr>
      </p:pic>
      <p:pic>
        <p:nvPicPr>
          <p:cNvPr id="71" name="Picture 210" descr="A picture containing graphics, black&#10;&#10;Description automatically generated">
            <a:extLst>
              <a:ext uri="{FF2B5EF4-FFF2-40B4-BE49-F238E27FC236}">
                <a16:creationId xmlns:a16="http://schemas.microsoft.com/office/drawing/2014/main" id="{4047AA08-4BBC-8298-DAF9-B16401F20A28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26" y="3142985"/>
            <a:ext cx="720000" cy="720000"/>
          </a:xfrm>
          <a:prstGeom prst="rect">
            <a:avLst/>
          </a:prstGeom>
        </p:spPr>
      </p:pic>
      <p:pic>
        <p:nvPicPr>
          <p:cNvPr id="72" name="Picture 211" descr="A blue lightning bol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04AE672F-95CE-5119-C29F-D8756C56454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88" y="4371600"/>
            <a:ext cx="720000" cy="720000"/>
          </a:xfrm>
          <a:prstGeom prst="rect">
            <a:avLst/>
          </a:prstGeom>
        </p:spPr>
      </p:pic>
      <p:pic>
        <p:nvPicPr>
          <p:cNvPr id="73" name="Picture 212" descr="A picture containing black, graphics, darkness&#10;&#10;Description automatically generated">
            <a:extLst>
              <a:ext uri="{FF2B5EF4-FFF2-40B4-BE49-F238E27FC236}">
                <a16:creationId xmlns:a16="http://schemas.microsoft.com/office/drawing/2014/main" id="{840ADD30-37D7-1594-A9B0-2149BDE8E2FA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26" y="5600215"/>
            <a:ext cx="720000" cy="720000"/>
          </a:xfrm>
          <a:prstGeom prst="rect">
            <a:avLst/>
          </a:prstGeom>
        </p:spPr>
      </p:pic>
      <p:pic>
        <p:nvPicPr>
          <p:cNvPr id="74" name="Picture 213" descr="A blue envelope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E4BBC1AC-F0C5-C2AD-7A3D-BA1607FF016E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88" y="6828830"/>
            <a:ext cx="720000" cy="720000"/>
          </a:xfrm>
          <a:prstGeom prst="rect">
            <a:avLst/>
          </a:prstGeom>
        </p:spPr>
      </p:pic>
      <p:pic>
        <p:nvPicPr>
          <p:cNvPr id="75" name="Picture 214" descr="A picture containing screenshot, symbol, graphics, black&#10;&#10;Description automatically generated">
            <a:extLst>
              <a:ext uri="{FF2B5EF4-FFF2-40B4-BE49-F238E27FC236}">
                <a16:creationId xmlns:a16="http://schemas.microsoft.com/office/drawing/2014/main" id="{1D05F3D4-1517-89D1-837D-DB420674E886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26" y="8057445"/>
            <a:ext cx="720000" cy="720000"/>
          </a:xfrm>
          <a:prstGeom prst="rect">
            <a:avLst/>
          </a:prstGeom>
        </p:spPr>
      </p:pic>
      <p:pic>
        <p:nvPicPr>
          <p:cNvPr id="76" name="Picture 215" descr="A picture containing screenshot, symbol, black, design&#10;&#10;Description automatically generated">
            <a:extLst>
              <a:ext uri="{FF2B5EF4-FFF2-40B4-BE49-F238E27FC236}">
                <a16:creationId xmlns:a16="http://schemas.microsoft.com/office/drawing/2014/main" id="{FD4774E3-0227-0CAC-DB65-DF6749E19490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88" y="9286057"/>
            <a:ext cx="720000" cy="720000"/>
          </a:xfrm>
          <a:prstGeom prst="rect">
            <a:avLst/>
          </a:prstGeom>
        </p:spPr>
      </p:pic>
      <p:pic>
        <p:nvPicPr>
          <p:cNvPr id="77" name="Picture 216" descr="A picture containing symbol, font, graphics, logo&#10;&#10;Description automatically generated">
            <a:extLst>
              <a:ext uri="{FF2B5EF4-FFF2-40B4-BE49-F238E27FC236}">
                <a16:creationId xmlns:a16="http://schemas.microsoft.com/office/drawing/2014/main" id="{C57FEEC1-D2E1-E729-1675-618FD0192E9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436" y="685755"/>
            <a:ext cx="720000" cy="720000"/>
          </a:xfrm>
          <a:prstGeom prst="rect">
            <a:avLst/>
          </a:prstGeom>
        </p:spPr>
      </p:pic>
      <p:pic>
        <p:nvPicPr>
          <p:cNvPr id="78" name="Picture 217" descr="A picture containing graphics&#10;&#10;Description automatically generated">
            <a:extLst>
              <a:ext uri="{FF2B5EF4-FFF2-40B4-BE49-F238E27FC236}">
                <a16:creationId xmlns:a16="http://schemas.microsoft.com/office/drawing/2014/main" id="{4702A7FC-811F-C163-CA44-B552E76161C6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308" y="685755"/>
            <a:ext cx="720000" cy="720000"/>
          </a:xfrm>
          <a:prstGeom prst="rect">
            <a:avLst/>
          </a:prstGeom>
        </p:spPr>
      </p:pic>
      <p:pic>
        <p:nvPicPr>
          <p:cNvPr id="79" name="Picture 218" descr="A picture containing symbol, black&#10;&#10;Description automatically generated">
            <a:extLst>
              <a:ext uri="{FF2B5EF4-FFF2-40B4-BE49-F238E27FC236}">
                <a16:creationId xmlns:a16="http://schemas.microsoft.com/office/drawing/2014/main" id="{37FFD4AD-8757-BA23-796E-6DE5A038458A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462" y="685755"/>
            <a:ext cx="720000" cy="720000"/>
          </a:xfrm>
          <a:prstGeom prst="rect">
            <a:avLst/>
          </a:prstGeom>
        </p:spPr>
      </p:pic>
      <p:pic>
        <p:nvPicPr>
          <p:cNvPr id="80" name="Picture 221" descr="A picture containing symbol, circle, logo&#10;&#10;Description automatically generated">
            <a:extLst>
              <a:ext uri="{FF2B5EF4-FFF2-40B4-BE49-F238E27FC236}">
                <a16:creationId xmlns:a16="http://schemas.microsoft.com/office/drawing/2014/main" id="{0CB93CE3-FC5D-9543-A1D1-8950ADDC716E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26" y="685755"/>
            <a:ext cx="720000" cy="720000"/>
          </a:xfrm>
          <a:prstGeom prst="rect">
            <a:avLst/>
          </a:prstGeom>
        </p:spPr>
      </p:pic>
      <p:pic>
        <p:nvPicPr>
          <p:cNvPr id="81" name="Picture 320" descr="A light bulb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25CB1362-49BB-D5EC-9AFF-21FC64A2703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448" y="9286057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1035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DB56C3D2-7786-416A-14DA-217D5110B7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252" r="27480" b="56898"/>
          <a:stretch/>
        </p:blipFill>
        <p:spPr>
          <a:xfrm>
            <a:off x="0" y="4600662"/>
            <a:ext cx="3350633" cy="3766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19A373-1AEE-1E63-B12E-992EA7098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l’abrégé ligne 1</a:t>
            </a:r>
            <a:br>
              <a:rPr lang="fr-FR" dirty="0"/>
            </a:br>
            <a:r>
              <a:rPr lang="fr-FR" dirty="0"/>
              <a:t>Titre l’abrégé ligne 2</a:t>
            </a:r>
            <a:br>
              <a:rPr lang="fr-FR" dirty="0"/>
            </a:br>
            <a:r>
              <a:rPr lang="fr-FR" dirty="0"/>
              <a:t>Titre l’abrégé ligne 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3C709D-A6AE-66E8-BFD7-A69D3953A7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#hashtag 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39DB90-2C9B-AE7F-3F52-175D64AE1A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#hashtag 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63583D-59BB-5882-FAF8-09822B3188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#hashtag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2D78D-C7CA-B125-811F-3CEB52ACD5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#hashtag 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6873DF-796D-2A43-8F37-A3862689A4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#hashtag 1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33A18A-2136-CBE2-86D8-42C8EA737B8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fr-FR" dirty="0"/>
              <a:t>Les Essentiels</a:t>
            </a: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4FEAFDD9-33D8-F4A4-2EBC-292569C68A67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E239548C-BFA3-4E0F-A549-F644FC47C6DE}" type="datetime2">
              <a:rPr lang="fr-FR" smtClean="0"/>
              <a:t>vendredi 19 janvier 20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73995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A3F642B-4367-7C68-4FFE-F785E1666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B40FFE0-CFB8-DC78-38B1-FC49FE62BD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L’étude en bref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B4327AF-E39A-213A-B8DC-21794DBF6B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87838" y="3531512"/>
            <a:ext cx="4555038" cy="169277"/>
          </a:xfrm>
        </p:spPr>
        <p:txBody>
          <a:bodyPr/>
          <a:lstStyle/>
          <a:p>
            <a:r>
              <a:rPr lang="fr-FR" dirty="0"/>
              <a:t>Question 1 ligne 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1620486-1C71-D5AD-EAEE-C76AAFE75F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87838" y="3731853"/>
            <a:ext cx="4555038" cy="169277"/>
          </a:xfrm>
        </p:spPr>
        <p:txBody>
          <a:bodyPr/>
          <a:lstStyle/>
          <a:p>
            <a:r>
              <a:rPr lang="fr-FR" dirty="0"/>
              <a:t>Question 1 ligne 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67ED725-176F-2C20-924C-BE1E0A3727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75836" y="3919465"/>
            <a:ext cx="4267040" cy="153888"/>
          </a:xfrm>
        </p:spPr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12F8187-1C66-0B3E-781F-9B0571F5AE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75836" y="4094799"/>
            <a:ext cx="4267040" cy="153888"/>
          </a:xfrm>
        </p:spPr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8BA8929-648E-6A9D-EE22-41BBB45166D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763838" y="4636566"/>
            <a:ext cx="3979038" cy="138499"/>
          </a:xfrm>
        </p:spPr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8B5104B-3F7F-A859-B906-40CFC18706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763838" y="4813695"/>
            <a:ext cx="3979038" cy="138499"/>
          </a:xfrm>
        </p:spPr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E7BA957-6ED5-356E-762D-6F2C120CB1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7097" y="3245098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E6EA243-EF49-C184-ABF9-F2D0D00C5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17097" y="3539206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DFC38E1-20D2-13C0-3810-4CE2B2E1FD6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17097" y="3739547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E8FD59F-612C-2DF3-7B7C-C1E6DD7D4A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17097" y="3919465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72F3E0-E1A6-0AA2-2177-7751B708D50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317097" y="4094799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78F1865-F942-DBF0-7E9A-21C38FA312A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317097" y="4628644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53E2516-7F34-C26A-C7E2-FD08D713F68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17097" y="4804519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8B87655B-0BD1-EDA6-4BB7-55AF93CDE6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187838" y="2231362"/>
            <a:ext cx="4555038" cy="153888"/>
          </a:xfrm>
        </p:spPr>
        <p:txBody>
          <a:bodyPr>
            <a:noAutofit/>
          </a:bodyPr>
          <a:lstStyle/>
          <a:p>
            <a:r>
              <a:rPr lang="fr-FR" sz="1000" b="0" dirty="0">
                <a:solidFill>
                  <a:schemeClr val="bg2"/>
                </a:solidFill>
              </a:rPr>
              <a:t>Insérer text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2F975FB-520F-F6F0-8D3C-974B94BB605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187838" y="2430929"/>
            <a:ext cx="4555038" cy="153888"/>
          </a:xfrm>
        </p:spPr>
        <p:txBody>
          <a:bodyPr>
            <a:noAutofit/>
          </a:bodyPr>
          <a:lstStyle/>
          <a:p>
            <a:r>
              <a:rPr lang="fr-FR" sz="1000" b="0" dirty="0">
                <a:solidFill>
                  <a:schemeClr val="bg2"/>
                </a:solidFill>
              </a:rPr>
              <a:t>Insérer text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C21CA8ED-71D5-EEEF-73D9-1FD91B3590C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317097" y="2231362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46EEFCA-562A-C615-590B-4A7B40533A4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317097" y="2431703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B8D444A-3FAE-AE8C-F9C3-749E65EEFC46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2716F2A3-9E65-31DC-9ACF-2FEA76D9D26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9836" y="3178042"/>
            <a:ext cx="2159999" cy="288000"/>
          </a:xfrm>
        </p:spPr>
        <p:txBody>
          <a:bodyPr/>
          <a:lstStyle/>
          <a:p>
            <a:r>
              <a:rPr lang="fr-FR" dirty="0"/>
              <a:t>Question 1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061ED107-79CC-88C2-FBF2-A3B793170DF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Question 1 ligne 1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326FC6FE-340C-4D9A-6977-E19F3C0CABF4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fr-FR" dirty="0"/>
              <a:t>Question 1 ligne 2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A1A66F25-910B-7406-3E2E-501DAFFC8AD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6150C01-47EC-4DA8-4F5F-7A46500B4F1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148714B9-A8E2-2D6A-9B51-B47CC70EA4D0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B3C2544-5C74-02D4-940F-79D406671912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3287B11-CA52-55C0-955A-792AD773192B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07114EF4-9842-F8A0-A099-C58B44A9BC56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298B7A2C-2D66-C9AC-36AD-597A9CD3108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6D84BF2E-9EB6-406A-24B2-00F0EDEC0ED9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Question 2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84C0AFCF-776A-B138-71D8-F4F42EB56A10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fr-FR" dirty="0"/>
              <a:t>Question 1 ligne 1</a:t>
            </a:r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CC4575CB-1D57-C2F6-E9DC-4B5B7462607D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fr-FR" dirty="0"/>
              <a:t>Question 1 ligne 2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069D7E6-EB17-7263-83F1-5B95C98CFAE6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6BB5B801-F7E0-65E8-CE6C-3F28573F2AFD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fr-FR" dirty="0"/>
              <a:t>Insérer texte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5DBDA807-BF1D-AD7F-30E0-7C2FD836519D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3671B279-288E-7E9F-D74D-B7E6C4EF653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1B942145-6F2E-871C-8563-D638CEB121E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28B1CD85-2B95-5806-A7B4-9C2F2C3562B1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F2A6866E-05B0-783C-B059-8792EACA1BAC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/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B30E245A-48A4-E265-1345-926A15458B6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fr-FR" dirty="0"/>
              <a:t>Question 3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085B3AE1-D098-9EED-1C95-6B55F1E123D7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6317097" y="8511746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62F9A3D4-0D66-8FA4-4B92-8CFDACA276F9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899836" y="8444690"/>
            <a:ext cx="2159999" cy="288000"/>
          </a:xfrm>
        </p:spPr>
        <p:txBody>
          <a:bodyPr/>
          <a:lstStyle/>
          <a:p>
            <a:r>
              <a:rPr lang="fr-FR" dirty="0"/>
              <a:t>Tendances à suivre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2CA9A42B-4FEE-3FAE-A1DC-360A32CE772B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6317097" y="9072429"/>
            <a:ext cx="366057" cy="153888"/>
          </a:xfrm>
        </p:spPr>
        <p:txBody>
          <a:bodyPr/>
          <a:lstStyle/>
          <a:p>
            <a:r>
              <a:rPr lang="fr-FR" dirty="0"/>
              <a:t>##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EC948327-F2F8-78FC-265D-B92EF0D10F19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899836" y="9005373"/>
            <a:ext cx="2159999" cy="288000"/>
          </a:xfrm>
        </p:spPr>
        <p:txBody>
          <a:bodyPr/>
          <a:lstStyle/>
          <a:p>
            <a:r>
              <a:rPr lang="fr-FR" dirty="0"/>
              <a:t>Indicateurs à surveiller </a:t>
            </a:r>
          </a:p>
        </p:txBody>
      </p:sp>
      <p:sp>
        <p:nvSpPr>
          <p:cNvPr id="102" name="Text Placeholder 24">
            <a:extLst>
              <a:ext uri="{FF2B5EF4-FFF2-40B4-BE49-F238E27FC236}">
                <a16:creationId xmlns:a16="http://schemas.microsoft.com/office/drawing/2014/main" id="{1505A1D4-9CCA-7317-E86D-0DF3FD254CB5}"/>
              </a:ext>
            </a:extLst>
          </p:cNvPr>
          <p:cNvSpPr txBox="1">
            <a:spLocks/>
          </p:cNvSpPr>
          <p:nvPr/>
        </p:nvSpPr>
        <p:spPr>
          <a:xfrm>
            <a:off x="1187838" y="2630496"/>
            <a:ext cx="4555038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b="0" dirty="0">
                <a:solidFill>
                  <a:schemeClr val="bg2"/>
                </a:solidFill>
              </a:rPr>
              <a:t>Insérer texte</a:t>
            </a:r>
          </a:p>
        </p:txBody>
      </p:sp>
      <p:sp>
        <p:nvSpPr>
          <p:cNvPr id="103" name="Text Placeholder 25">
            <a:extLst>
              <a:ext uri="{FF2B5EF4-FFF2-40B4-BE49-F238E27FC236}">
                <a16:creationId xmlns:a16="http://schemas.microsoft.com/office/drawing/2014/main" id="{D05AC23B-2956-73AD-41A7-8D49C3F2F806}"/>
              </a:ext>
            </a:extLst>
          </p:cNvPr>
          <p:cNvSpPr txBox="1">
            <a:spLocks/>
          </p:cNvSpPr>
          <p:nvPr/>
        </p:nvSpPr>
        <p:spPr>
          <a:xfrm>
            <a:off x="1187838" y="2830062"/>
            <a:ext cx="4555038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b="0" dirty="0">
                <a:solidFill>
                  <a:schemeClr val="bg2"/>
                </a:solidFill>
              </a:rPr>
              <a:t>Insérer texte</a:t>
            </a:r>
          </a:p>
        </p:txBody>
      </p:sp>
      <p:sp>
        <p:nvSpPr>
          <p:cNvPr id="104" name="Text Placeholder 30">
            <a:extLst>
              <a:ext uri="{FF2B5EF4-FFF2-40B4-BE49-F238E27FC236}">
                <a16:creationId xmlns:a16="http://schemas.microsoft.com/office/drawing/2014/main" id="{11642436-81FF-3F5C-ABEF-2161A9A5555E}"/>
              </a:ext>
            </a:extLst>
          </p:cNvPr>
          <p:cNvSpPr txBox="1">
            <a:spLocks/>
          </p:cNvSpPr>
          <p:nvPr/>
        </p:nvSpPr>
        <p:spPr>
          <a:xfrm>
            <a:off x="6317097" y="2632044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##</a:t>
            </a:r>
          </a:p>
        </p:txBody>
      </p:sp>
      <p:sp>
        <p:nvSpPr>
          <p:cNvPr id="105" name="Text Placeholder 31">
            <a:extLst>
              <a:ext uri="{FF2B5EF4-FFF2-40B4-BE49-F238E27FC236}">
                <a16:creationId xmlns:a16="http://schemas.microsoft.com/office/drawing/2014/main" id="{19FF8817-502E-2F35-2ECE-0DEE522E1375}"/>
              </a:ext>
            </a:extLst>
          </p:cNvPr>
          <p:cNvSpPr txBox="1">
            <a:spLocks/>
          </p:cNvSpPr>
          <p:nvPr/>
        </p:nvSpPr>
        <p:spPr>
          <a:xfrm>
            <a:off x="6317097" y="2832385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##</a:t>
            </a:r>
          </a:p>
        </p:txBody>
      </p:sp>
      <p:sp>
        <p:nvSpPr>
          <p:cNvPr id="110" name="Text Placeholder 13">
            <a:extLst>
              <a:ext uri="{FF2B5EF4-FFF2-40B4-BE49-F238E27FC236}">
                <a16:creationId xmlns:a16="http://schemas.microsoft.com/office/drawing/2014/main" id="{C9BF7455-55A1-C7B4-58BD-4E9C13EC64B0}"/>
              </a:ext>
            </a:extLst>
          </p:cNvPr>
          <p:cNvSpPr txBox="1">
            <a:spLocks/>
          </p:cNvSpPr>
          <p:nvPr/>
        </p:nvSpPr>
        <p:spPr>
          <a:xfrm>
            <a:off x="1475836" y="4270094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Insérer texte</a:t>
            </a:r>
          </a:p>
        </p:txBody>
      </p:sp>
      <p:sp>
        <p:nvSpPr>
          <p:cNvPr id="111" name="Text Placeholder 14">
            <a:extLst>
              <a:ext uri="{FF2B5EF4-FFF2-40B4-BE49-F238E27FC236}">
                <a16:creationId xmlns:a16="http://schemas.microsoft.com/office/drawing/2014/main" id="{C54A2740-2F30-934B-A529-DE3622B95DAC}"/>
              </a:ext>
            </a:extLst>
          </p:cNvPr>
          <p:cNvSpPr txBox="1">
            <a:spLocks/>
          </p:cNvSpPr>
          <p:nvPr/>
        </p:nvSpPr>
        <p:spPr>
          <a:xfrm>
            <a:off x="1475836" y="4445428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Insérer texte</a:t>
            </a:r>
          </a:p>
        </p:txBody>
      </p:sp>
      <p:sp>
        <p:nvSpPr>
          <p:cNvPr id="112" name="Text Placeholder 20">
            <a:extLst>
              <a:ext uri="{FF2B5EF4-FFF2-40B4-BE49-F238E27FC236}">
                <a16:creationId xmlns:a16="http://schemas.microsoft.com/office/drawing/2014/main" id="{C0A6BA1E-3DA3-BE91-BAF6-6239B64017A6}"/>
              </a:ext>
            </a:extLst>
          </p:cNvPr>
          <p:cNvSpPr txBox="1">
            <a:spLocks/>
          </p:cNvSpPr>
          <p:nvPr/>
        </p:nvSpPr>
        <p:spPr>
          <a:xfrm>
            <a:off x="6317097" y="4270094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##</a:t>
            </a:r>
          </a:p>
        </p:txBody>
      </p:sp>
      <p:sp>
        <p:nvSpPr>
          <p:cNvPr id="113" name="Text Placeholder 21">
            <a:extLst>
              <a:ext uri="{FF2B5EF4-FFF2-40B4-BE49-F238E27FC236}">
                <a16:creationId xmlns:a16="http://schemas.microsoft.com/office/drawing/2014/main" id="{F9BC1ACD-D4B9-3B22-15DB-A94FD616D2F3}"/>
              </a:ext>
            </a:extLst>
          </p:cNvPr>
          <p:cNvSpPr txBox="1">
            <a:spLocks/>
          </p:cNvSpPr>
          <p:nvPr/>
        </p:nvSpPr>
        <p:spPr>
          <a:xfrm>
            <a:off x="6317097" y="4445428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##</a:t>
            </a:r>
          </a:p>
        </p:txBody>
      </p:sp>
      <p:sp>
        <p:nvSpPr>
          <p:cNvPr id="114" name="Text Placeholder 16">
            <a:extLst>
              <a:ext uri="{FF2B5EF4-FFF2-40B4-BE49-F238E27FC236}">
                <a16:creationId xmlns:a16="http://schemas.microsoft.com/office/drawing/2014/main" id="{30B8D402-85FB-4CBD-8B73-408670A24FF6}"/>
              </a:ext>
            </a:extLst>
          </p:cNvPr>
          <p:cNvSpPr txBox="1">
            <a:spLocks/>
          </p:cNvSpPr>
          <p:nvPr/>
        </p:nvSpPr>
        <p:spPr>
          <a:xfrm>
            <a:off x="1763838" y="4990823"/>
            <a:ext cx="3979038" cy="1384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Insérer texte</a:t>
            </a:r>
          </a:p>
        </p:txBody>
      </p:sp>
      <p:sp>
        <p:nvSpPr>
          <p:cNvPr id="115" name="Text Placeholder 23">
            <a:extLst>
              <a:ext uri="{FF2B5EF4-FFF2-40B4-BE49-F238E27FC236}">
                <a16:creationId xmlns:a16="http://schemas.microsoft.com/office/drawing/2014/main" id="{99E1E0DA-93C5-ACC2-B307-43129A3A2CFB}"/>
              </a:ext>
            </a:extLst>
          </p:cNvPr>
          <p:cNvSpPr txBox="1">
            <a:spLocks/>
          </p:cNvSpPr>
          <p:nvPr/>
        </p:nvSpPr>
        <p:spPr>
          <a:xfrm>
            <a:off x="6317097" y="4983442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##</a:t>
            </a:r>
          </a:p>
        </p:txBody>
      </p:sp>
      <p:sp>
        <p:nvSpPr>
          <p:cNvPr id="118" name="Text Placeholder 47">
            <a:extLst>
              <a:ext uri="{FF2B5EF4-FFF2-40B4-BE49-F238E27FC236}">
                <a16:creationId xmlns:a16="http://schemas.microsoft.com/office/drawing/2014/main" id="{9AAAA40B-FA92-4797-499F-FCF16AF3B231}"/>
              </a:ext>
            </a:extLst>
          </p:cNvPr>
          <p:cNvSpPr txBox="1">
            <a:spLocks/>
          </p:cNvSpPr>
          <p:nvPr/>
        </p:nvSpPr>
        <p:spPr>
          <a:xfrm>
            <a:off x="6317097" y="6516582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##</a:t>
            </a:r>
          </a:p>
        </p:txBody>
      </p:sp>
      <p:sp>
        <p:nvSpPr>
          <p:cNvPr id="119" name="Text Placeholder 48">
            <a:extLst>
              <a:ext uri="{FF2B5EF4-FFF2-40B4-BE49-F238E27FC236}">
                <a16:creationId xmlns:a16="http://schemas.microsoft.com/office/drawing/2014/main" id="{1D8C90F9-0C14-2980-2A35-D3BF2219EE01}"/>
              </a:ext>
            </a:extLst>
          </p:cNvPr>
          <p:cNvSpPr txBox="1">
            <a:spLocks/>
          </p:cNvSpPr>
          <p:nvPr/>
        </p:nvSpPr>
        <p:spPr>
          <a:xfrm>
            <a:off x="6317097" y="6691916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##</a:t>
            </a:r>
          </a:p>
        </p:txBody>
      </p:sp>
      <p:sp>
        <p:nvSpPr>
          <p:cNvPr id="120" name="Text Placeholder 13">
            <a:extLst>
              <a:ext uri="{FF2B5EF4-FFF2-40B4-BE49-F238E27FC236}">
                <a16:creationId xmlns:a16="http://schemas.microsoft.com/office/drawing/2014/main" id="{DFC2CC58-3EA4-01D3-9033-B4BEE1DA86C6}"/>
              </a:ext>
            </a:extLst>
          </p:cNvPr>
          <p:cNvSpPr txBox="1">
            <a:spLocks/>
          </p:cNvSpPr>
          <p:nvPr/>
        </p:nvSpPr>
        <p:spPr>
          <a:xfrm>
            <a:off x="1475836" y="6516482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Insérer texte</a:t>
            </a:r>
          </a:p>
        </p:txBody>
      </p:sp>
      <p:sp>
        <p:nvSpPr>
          <p:cNvPr id="121" name="Text Placeholder 14">
            <a:extLst>
              <a:ext uri="{FF2B5EF4-FFF2-40B4-BE49-F238E27FC236}">
                <a16:creationId xmlns:a16="http://schemas.microsoft.com/office/drawing/2014/main" id="{CA34C5E3-9ED5-FD41-980D-B96008B7B7A9}"/>
              </a:ext>
            </a:extLst>
          </p:cNvPr>
          <p:cNvSpPr txBox="1">
            <a:spLocks/>
          </p:cNvSpPr>
          <p:nvPr/>
        </p:nvSpPr>
        <p:spPr>
          <a:xfrm>
            <a:off x="1475836" y="6691816"/>
            <a:ext cx="4267040" cy="1538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Insérer texte</a:t>
            </a:r>
          </a:p>
        </p:txBody>
      </p:sp>
      <p:sp>
        <p:nvSpPr>
          <p:cNvPr id="124" name="Text Placeholder 38">
            <a:extLst>
              <a:ext uri="{FF2B5EF4-FFF2-40B4-BE49-F238E27FC236}">
                <a16:creationId xmlns:a16="http://schemas.microsoft.com/office/drawing/2014/main" id="{11E63B38-2574-FD91-BE3D-83D711C3301F}"/>
              </a:ext>
            </a:extLst>
          </p:cNvPr>
          <p:cNvSpPr txBox="1">
            <a:spLocks/>
          </p:cNvSpPr>
          <p:nvPr/>
        </p:nvSpPr>
        <p:spPr>
          <a:xfrm>
            <a:off x="1187838" y="9358843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solidFill>
                  <a:srgbClr val="E6332A"/>
                </a:solidFill>
              </a:rPr>
              <a:t>Verbatim </a:t>
            </a:r>
            <a:r>
              <a:rPr lang="fr-FR" dirty="0" err="1">
                <a:solidFill>
                  <a:srgbClr val="E6332A"/>
                </a:solidFill>
              </a:rPr>
              <a:t>Omeca</a:t>
            </a:r>
            <a:endParaRPr lang="fr-FR" dirty="0">
              <a:solidFill>
                <a:srgbClr val="E6332A"/>
              </a:solidFill>
            </a:endParaRPr>
          </a:p>
        </p:txBody>
      </p:sp>
      <p:sp>
        <p:nvSpPr>
          <p:cNvPr id="125" name="Text Placeholder 39">
            <a:extLst>
              <a:ext uri="{FF2B5EF4-FFF2-40B4-BE49-F238E27FC236}">
                <a16:creationId xmlns:a16="http://schemas.microsoft.com/office/drawing/2014/main" id="{9B3B45F8-E2F6-8A92-C219-A29E70C5D04B}"/>
              </a:ext>
            </a:extLst>
          </p:cNvPr>
          <p:cNvSpPr txBox="1">
            <a:spLocks/>
          </p:cNvSpPr>
          <p:nvPr/>
        </p:nvSpPr>
        <p:spPr>
          <a:xfrm>
            <a:off x="1187838" y="9559184"/>
            <a:ext cx="4555038" cy="1692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solidFill>
                  <a:srgbClr val="E6332A"/>
                </a:solidFill>
              </a:rPr>
              <a:t>Verbatim Atlas</a:t>
            </a:r>
          </a:p>
        </p:txBody>
      </p:sp>
      <p:sp>
        <p:nvSpPr>
          <p:cNvPr id="126" name="Text Placeholder 45">
            <a:extLst>
              <a:ext uri="{FF2B5EF4-FFF2-40B4-BE49-F238E27FC236}">
                <a16:creationId xmlns:a16="http://schemas.microsoft.com/office/drawing/2014/main" id="{16874789-B3CD-DF6A-9EAC-64D42557D17C}"/>
              </a:ext>
            </a:extLst>
          </p:cNvPr>
          <p:cNvSpPr txBox="1">
            <a:spLocks/>
          </p:cNvSpPr>
          <p:nvPr/>
        </p:nvSpPr>
        <p:spPr>
          <a:xfrm>
            <a:off x="6317097" y="9366537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##</a:t>
            </a:r>
          </a:p>
        </p:txBody>
      </p:sp>
      <p:sp>
        <p:nvSpPr>
          <p:cNvPr id="127" name="Text Placeholder 46">
            <a:extLst>
              <a:ext uri="{FF2B5EF4-FFF2-40B4-BE49-F238E27FC236}">
                <a16:creationId xmlns:a16="http://schemas.microsoft.com/office/drawing/2014/main" id="{1C5CF110-737F-22CB-8742-F44AC4445EFD}"/>
              </a:ext>
            </a:extLst>
          </p:cNvPr>
          <p:cNvSpPr txBox="1">
            <a:spLocks/>
          </p:cNvSpPr>
          <p:nvPr/>
        </p:nvSpPr>
        <p:spPr>
          <a:xfrm>
            <a:off x="6317097" y="9566878"/>
            <a:ext cx="366057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 defTabSz="7559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6055920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D8984011-5F7B-B75E-BFCF-96FED223A0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L’étude en bref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EA80A096-0F06-4E3C-0AA5-AA5F938ED3F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FR" dirty="0"/>
              <a:t>L’étude répond à 3 questions stratégiques</a:t>
            </a:r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4669D6E8-1AD3-CF4E-3A72-AF3129D623B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0DBEF083-9008-5574-076F-9ACA32EB3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eci est le titre </a:t>
            </a:r>
            <a:br>
              <a:rPr lang="fr-FR" dirty="0"/>
            </a:br>
            <a:r>
              <a:rPr lang="fr-FR" dirty="0"/>
              <a:t>de la diapositive sur 2 lignes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6C2CF1D4-9279-D401-851E-8075C38C22FA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8F2F53AF-818E-7DA8-9DB7-89DB33472CF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Ceci est le titre d’un paragraphe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36A548CB-95EB-F5CC-B6C1-D6475F55E1AE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>
            <a:noAutofit/>
          </a:bodyPr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b="1" dirty="0">
                <a:solidFill>
                  <a:schemeClr val="bg2"/>
                </a:solidFill>
              </a:rPr>
              <a:t>,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aecab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inisti</a:t>
            </a:r>
            <a:r>
              <a:rPr lang="fr-FR" sz="1000" dirty="0">
                <a:solidFill>
                  <a:schemeClr val="bg2"/>
                </a:solidFill>
              </a:rPr>
              <a:t> audit quid </a:t>
            </a:r>
            <a:r>
              <a:rPr lang="fr-FR" sz="1000" dirty="0" err="1">
                <a:solidFill>
                  <a:schemeClr val="bg2"/>
                </a:solidFill>
              </a:rPr>
              <a:t>experion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voluptu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rionsed</a:t>
            </a:r>
            <a:r>
              <a:rPr lang="fr-FR" sz="1000" dirty="0">
                <a:solidFill>
                  <a:schemeClr val="bg2"/>
                </a:solidFill>
              </a:rPr>
              <a:t> que </a:t>
            </a:r>
            <a:r>
              <a:rPr lang="fr-FR" sz="1000" dirty="0" err="1">
                <a:solidFill>
                  <a:schemeClr val="bg2"/>
                </a:solidFill>
              </a:rPr>
              <a:t>possequi</a:t>
            </a:r>
            <a:r>
              <a:rPr lang="fr-FR" sz="1000" dirty="0">
                <a:solidFill>
                  <a:schemeClr val="bg2"/>
                </a:solidFill>
              </a:rPr>
              <a:t> ut </a:t>
            </a:r>
            <a:r>
              <a:rPr lang="fr-FR" sz="1000" dirty="0" err="1">
                <a:solidFill>
                  <a:schemeClr val="bg2"/>
                </a:solidFill>
              </a:rPr>
              <a:t>fugitend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ime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liquistia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autat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o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fugitatur</a:t>
            </a:r>
            <a:r>
              <a:rPr lang="fr-FR" sz="1000" dirty="0">
                <a:solidFill>
                  <a:schemeClr val="bg2"/>
                </a:solidFill>
              </a:rPr>
              <a:t>? Qui </a:t>
            </a:r>
            <a:r>
              <a:rPr lang="fr-FR" sz="1000" dirty="0" err="1">
                <a:solidFill>
                  <a:schemeClr val="bg2"/>
                </a:solidFill>
              </a:rPr>
              <a:t>dolutatqu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aturestio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aspisin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pedigen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remper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i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ia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un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fugia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qu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volenis</a:t>
            </a:r>
            <a:r>
              <a:rPr lang="fr-FR" sz="1000" dirty="0">
                <a:solidFill>
                  <a:schemeClr val="bg2"/>
                </a:solidFill>
              </a:rPr>
              <a:t> et </a:t>
            </a:r>
            <a:r>
              <a:rPr lang="fr-FR" sz="1000" dirty="0" err="1">
                <a:solidFill>
                  <a:schemeClr val="bg2"/>
                </a:solidFill>
              </a:rPr>
              <a:t>un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occu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ssusandi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o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maximolorpor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res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plaut</a:t>
            </a:r>
            <a:r>
              <a:rPr lang="fr-FR" sz="1000" dirty="0">
                <a:solidFill>
                  <a:schemeClr val="bg2"/>
                </a:solidFill>
              </a:rPr>
              <a:t> idem </a:t>
            </a:r>
            <a:r>
              <a:rPr lang="fr-FR" sz="1000" dirty="0" err="1">
                <a:solidFill>
                  <a:schemeClr val="bg2"/>
                </a:solidFill>
              </a:rPr>
              <a:t>quia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adi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au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a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ni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it</a:t>
            </a:r>
            <a:r>
              <a:rPr lang="fr-FR" sz="1000" dirty="0">
                <a:solidFill>
                  <a:schemeClr val="bg2"/>
                </a:solidFill>
              </a:rPr>
              <a:t>, to </a:t>
            </a:r>
            <a:r>
              <a:rPr lang="fr-FR" sz="1000" dirty="0" err="1">
                <a:solidFill>
                  <a:schemeClr val="bg2"/>
                </a:solidFill>
              </a:rPr>
              <a:t>totati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maion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cori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pti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prorehe</a:t>
            </a:r>
            <a:r>
              <a:rPr lang="fr-FR" sz="10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Uscipsam</a:t>
            </a:r>
            <a:r>
              <a:rPr lang="fr-FR" sz="900" dirty="0">
                <a:solidFill>
                  <a:schemeClr val="bg2"/>
                </a:solidFill>
              </a:rPr>
              <a:t>, et il </a:t>
            </a:r>
            <a:r>
              <a:rPr lang="fr-FR" sz="900" dirty="0" err="1">
                <a:solidFill>
                  <a:schemeClr val="bg2"/>
                </a:solidFill>
              </a:rPr>
              <a:t>iliquam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uptae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orio</a:t>
            </a:r>
            <a:r>
              <a:rPr lang="fr-FR" sz="9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Lorepellenda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ostenet</a:t>
            </a:r>
            <a:r>
              <a:rPr lang="fr-FR" sz="900" dirty="0">
                <a:solidFill>
                  <a:schemeClr val="bg2"/>
                </a:solidFill>
              </a:rPr>
              <a:t> as </a:t>
            </a:r>
            <a:r>
              <a:rPr lang="fr-FR" sz="900" dirty="0" err="1">
                <a:solidFill>
                  <a:schemeClr val="bg2"/>
                </a:solidFill>
              </a:rPr>
              <a:t>estinti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vellesequi</a:t>
            </a:r>
            <a:r>
              <a:rPr lang="fr-FR" sz="900" dirty="0">
                <a:solidFill>
                  <a:schemeClr val="bg2"/>
                </a:solidFill>
              </a:rPr>
              <a:t>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Magni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li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hitemolec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t</a:t>
            </a:r>
            <a:r>
              <a:rPr lang="fr-FR" sz="800" dirty="0">
                <a:solidFill>
                  <a:schemeClr val="bg2"/>
                </a:solidFill>
              </a:rPr>
              <a:t> que </a:t>
            </a:r>
            <a:r>
              <a:rPr lang="fr-FR" sz="800" dirty="0" err="1">
                <a:solidFill>
                  <a:schemeClr val="bg2"/>
                </a:solidFill>
              </a:rPr>
              <a:t>venturem</a:t>
            </a:r>
            <a:endParaRPr lang="fr-FR" sz="800" dirty="0">
              <a:solidFill>
                <a:schemeClr val="bg2"/>
              </a:solidFill>
            </a:endParaRP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Sequ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ci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magnim</a:t>
            </a:r>
            <a:r>
              <a:rPr lang="fr-FR" sz="800" dirty="0">
                <a:solidFill>
                  <a:schemeClr val="bg2"/>
                </a:solidFill>
              </a:rPr>
              <a:t> qui </a:t>
            </a:r>
            <a:r>
              <a:rPr lang="fr-FR" sz="800" dirty="0" err="1">
                <a:solidFill>
                  <a:schemeClr val="bg2"/>
                </a:solidFill>
              </a:rPr>
              <a:t>au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erio</a:t>
            </a:r>
            <a:r>
              <a:rPr lang="fr-FR" sz="800" dirty="0">
                <a:solidFill>
                  <a:schemeClr val="bg2"/>
                </a:solidFill>
              </a:rPr>
              <a:t>. Am </a:t>
            </a:r>
            <a:r>
              <a:rPr lang="fr-FR" sz="800" dirty="0" err="1">
                <a:solidFill>
                  <a:schemeClr val="bg2"/>
                </a:solidFill>
              </a:rPr>
              <a:t>haribus</a:t>
            </a:r>
            <a:r>
              <a:rPr lang="fr-FR" sz="800" dirty="0">
                <a:solidFill>
                  <a:schemeClr val="bg2"/>
                </a:solidFill>
              </a:rPr>
              <a:t>, qui </a:t>
            </a:r>
            <a:r>
              <a:rPr lang="fr-FR" sz="800" dirty="0" err="1">
                <a:solidFill>
                  <a:schemeClr val="bg2"/>
                </a:solidFill>
              </a:rPr>
              <a:t>rept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autemo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tatur</a:t>
            </a:r>
            <a:r>
              <a:rPr lang="fr-FR" sz="800" dirty="0">
                <a:solidFill>
                  <a:schemeClr val="bg2"/>
                </a:solidFill>
              </a:rPr>
              <a:t>?</a:t>
            </a:r>
            <a:endParaRPr lang="fr-FR" dirty="0"/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2AD3787D-CE01-FB3D-8131-D001B5974F44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r>
              <a:rPr lang="fr-FR" dirty="0"/>
              <a:t>Ceci est le titre d’un paragraphe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5190C515-DA30-1184-F47B-7D04090B6E59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663184" y="5307932"/>
            <a:ext cx="6227997" cy="1918474"/>
          </a:xfrm>
        </p:spPr>
        <p:txBody>
          <a:bodyPr>
            <a:noAutofit/>
          </a:bodyPr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b="1" dirty="0">
                <a:solidFill>
                  <a:schemeClr val="bg2"/>
                </a:solidFill>
              </a:rPr>
              <a:t>,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aecab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inisti</a:t>
            </a:r>
            <a:r>
              <a:rPr lang="fr-FR" sz="1000" dirty="0">
                <a:solidFill>
                  <a:schemeClr val="bg2"/>
                </a:solidFill>
              </a:rPr>
              <a:t> audit quid </a:t>
            </a:r>
            <a:r>
              <a:rPr lang="fr-FR" sz="1000" dirty="0" err="1">
                <a:solidFill>
                  <a:schemeClr val="bg2"/>
                </a:solidFill>
              </a:rPr>
              <a:t>experion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voluptu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rionsed</a:t>
            </a:r>
            <a:r>
              <a:rPr lang="fr-FR" sz="1000" dirty="0">
                <a:solidFill>
                  <a:schemeClr val="bg2"/>
                </a:solidFill>
              </a:rPr>
              <a:t> que </a:t>
            </a:r>
            <a:r>
              <a:rPr lang="fr-FR" sz="1000" dirty="0" err="1">
                <a:solidFill>
                  <a:schemeClr val="bg2"/>
                </a:solidFill>
              </a:rPr>
              <a:t>possequi</a:t>
            </a:r>
            <a:r>
              <a:rPr lang="fr-FR" sz="1000" dirty="0">
                <a:solidFill>
                  <a:schemeClr val="bg2"/>
                </a:solidFill>
              </a:rPr>
              <a:t> ut </a:t>
            </a:r>
            <a:r>
              <a:rPr lang="fr-FR" sz="1000" dirty="0" err="1">
                <a:solidFill>
                  <a:schemeClr val="bg2"/>
                </a:solidFill>
              </a:rPr>
              <a:t>fugitend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ime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liquistia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autat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o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fugitatur</a:t>
            </a:r>
            <a:r>
              <a:rPr lang="fr-FR" sz="1000" dirty="0">
                <a:solidFill>
                  <a:schemeClr val="bg2"/>
                </a:solidFill>
              </a:rPr>
              <a:t>? Qui </a:t>
            </a:r>
            <a:r>
              <a:rPr lang="fr-FR" sz="1000" dirty="0" err="1">
                <a:solidFill>
                  <a:schemeClr val="bg2"/>
                </a:solidFill>
              </a:rPr>
              <a:t>dolutatqu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aturestio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aspisin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pedigen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remper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i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ia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un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fugia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qu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volenis</a:t>
            </a:r>
            <a:r>
              <a:rPr lang="fr-FR" sz="1000" dirty="0">
                <a:solidFill>
                  <a:schemeClr val="bg2"/>
                </a:solidFill>
              </a:rPr>
              <a:t> et </a:t>
            </a:r>
            <a:r>
              <a:rPr lang="fr-FR" sz="1000" dirty="0" err="1">
                <a:solidFill>
                  <a:schemeClr val="bg2"/>
                </a:solidFill>
              </a:rPr>
              <a:t>un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occu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ssusandi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o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maximolorpor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res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plaut</a:t>
            </a:r>
            <a:r>
              <a:rPr lang="fr-FR" sz="1000" dirty="0">
                <a:solidFill>
                  <a:schemeClr val="bg2"/>
                </a:solidFill>
              </a:rPr>
              <a:t> idem </a:t>
            </a:r>
            <a:r>
              <a:rPr lang="fr-FR" sz="1000" dirty="0" err="1">
                <a:solidFill>
                  <a:schemeClr val="bg2"/>
                </a:solidFill>
              </a:rPr>
              <a:t>quia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adi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au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a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ni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it</a:t>
            </a:r>
            <a:r>
              <a:rPr lang="fr-FR" sz="1000" dirty="0">
                <a:solidFill>
                  <a:schemeClr val="bg2"/>
                </a:solidFill>
              </a:rPr>
              <a:t>, to </a:t>
            </a:r>
            <a:r>
              <a:rPr lang="fr-FR" sz="1000" dirty="0" err="1">
                <a:solidFill>
                  <a:schemeClr val="bg2"/>
                </a:solidFill>
              </a:rPr>
              <a:t>totati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maion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cori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pti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prorehe</a:t>
            </a:r>
            <a:r>
              <a:rPr lang="fr-FR" sz="10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Uscipsam</a:t>
            </a:r>
            <a:r>
              <a:rPr lang="fr-FR" sz="900" dirty="0">
                <a:solidFill>
                  <a:schemeClr val="bg2"/>
                </a:solidFill>
              </a:rPr>
              <a:t>, et il </a:t>
            </a:r>
            <a:r>
              <a:rPr lang="fr-FR" sz="900" dirty="0" err="1">
                <a:solidFill>
                  <a:schemeClr val="bg2"/>
                </a:solidFill>
              </a:rPr>
              <a:t>iliquam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uptae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orio</a:t>
            </a:r>
            <a:r>
              <a:rPr lang="fr-FR" sz="9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Lorepellenda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ostenet</a:t>
            </a:r>
            <a:r>
              <a:rPr lang="fr-FR" sz="900" dirty="0">
                <a:solidFill>
                  <a:schemeClr val="bg2"/>
                </a:solidFill>
              </a:rPr>
              <a:t> as </a:t>
            </a:r>
            <a:r>
              <a:rPr lang="fr-FR" sz="900" dirty="0" err="1">
                <a:solidFill>
                  <a:schemeClr val="bg2"/>
                </a:solidFill>
              </a:rPr>
              <a:t>estinti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vellesequi</a:t>
            </a:r>
            <a:r>
              <a:rPr lang="fr-FR" sz="900" dirty="0">
                <a:solidFill>
                  <a:schemeClr val="bg2"/>
                </a:solidFill>
              </a:rPr>
              <a:t>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Magni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li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hitemolec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t</a:t>
            </a:r>
            <a:r>
              <a:rPr lang="fr-FR" sz="800" dirty="0">
                <a:solidFill>
                  <a:schemeClr val="bg2"/>
                </a:solidFill>
              </a:rPr>
              <a:t> que </a:t>
            </a:r>
            <a:r>
              <a:rPr lang="fr-FR" sz="800" dirty="0" err="1">
                <a:solidFill>
                  <a:schemeClr val="bg2"/>
                </a:solidFill>
              </a:rPr>
              <a:t>venturem</a:t>
            </a:r>
            <a:endParaRPr lang="fr-FR" sz="800" dirty="0">
              <a:solidFill>
                <a:schemeClr val="bg2"/>
              </a:solidFill>
            </a:endParaRP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Sequ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ci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magnim</a:t>
            </a:r>
            <a:r>
              <a:rPr lang="fr-FR" sz="800" dirty="0">
                <a:solidFill>
                  <a:schemeClr val="bg2"/>
                </a:solidFill>
              </a:rPr>
              <a:t> qui </a:t>
            </a:r>
            <a:r>
              <a:rPr lang="fr-FR" sz="800" dirty="0" err="1">
                <a:solidFill>
                  <a:schemeClr val="bg2"/>
                </a:solidFill>
              </a:rPr>
              <a:t>au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erio</a:t>
            </a:r>
            <a:r>
              <a:rPr lang="fr-FR" sz="800" dirty="0">
                <a:solidFill>
                  <a:schemeClr val="bg2"/>
                </a:solidFill>
              </a:rPr>
              <a:t>. Am </a:t>
            </a:r>
            <a:r>
              <a:rPr lang="fr-FR" sz="800" dirty="0" err="1">
                <a:solidFill>
                  <a:schemeClr val="bg2"/>
                </a:solidFill>
              </a:rPr>
              <a:t>haribus</a:t>
            </a:r>
            <a:r>
              <a:rPr lang="fr-FR" sz="800" dirty="0">
                <a:solidFill>
                  <a:schemeClr val="bg2"/>
                </a:solidFill>
              </a:rPr>
              <a:t>, qui </a:t>
            </a:r>
            <a:r>
              <a:rPr lang="fr-FR" sz="800" dirty="0" err="1">
                <a:solidFill>
                  <a:schemeClr val="bg2"/>
                </a:solidFill>
              </a:rPr>
              <a:t>rept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autemo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tatur</a:t>
            </a:r>
            <a:r>
              <a:rPr lang="fr-FR" sz="800" dirty="0">
                <a:solidFill>
                  <a:schemeClr val="bg2"/>
                </a:solidFill>
              </a:rPr>
              <a:t>?</a:t>
            </a:r>
            <a:endParaRPr lang="fr-FR" sz="1000" dirty="0">
              <a:solidFill>
                <a:schemeClr val="bg2"/>
              </a:solidFill>
            </a:endParaRPr>
          </a:p>
          <a:p>
            <a:endParaRPr lang="fr-FR" dirty="0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988C4F6D-E90A-C8EF-8BCF-E6E8DB078FFB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D06AE103-2F69-42A0-7581-A53997020EAF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/>
        <p:txBody>
          <a:bodyPr/>
          <a:lstStyle/>
          <a:p>
            <a:r>
              <a:rPr lang="fr-FR" sz="1200" dirty="0">
                <a:solidFill>
                  <a:schemeClr val="bg2"/>
                </a:solidFill>
                <a:latin typeface="+mn-lt"/>
              </a:rPr>
              <a:t>Question 1 ?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4F90F830-C33D-E328-1FC9-95483EC0FC6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F6C151BD-6BE2-D233-BC0A-A73332A0F218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/>
        <p:txBody>
          <a:bodyPr/>
          <a:lstStyle/>
          <a:p>
            <a:r>
              <a:rPr lang="fr-FR" sz="1200" dirty="0">
                <a:solidFill>
                  <a:schemeClr val="bg2"/>
                </a:solidFill>
                <a:latin typeface="+mn-lt"/>
              </a:rPr>
              <a:t>Question 2 ?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59C14765-8ED5-41C3-B8E3-A149B82C6D82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69D2945A-DEC3-7A3D-7819-6C4950853654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/>
        <p:txBody>
          <a:bodyPr/>
          <a:lstStyle/>
          <a:p>
            <a:r>
              <a:rPr lang="fr-FR" sz="1200" dirty="0">
                <a:solidFill>
                  <a:schemeClr val="bg2"/>
                </a:solidFill>
                <a:latin typeface="+mn-lt"/>
              </a:rPr>
              <a:t>Question 3 ?</a:t>
            </a:r>
          </a:p>
        </p:txBody>
      </p:sp>
    </p:spTree>
    <p:extLst>
      <p:ext uri="{BB962C8B-B14F-4D97-AF65-F5344CB8AC3E}">
        <p14:creationId xmlns:p14="http://schemas.microsoft.com/office/powerpoint/2010/main" val="2526031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91813F0-6C64-0AC1-FC15-55207A3505CC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/>
              <a:t>Sous titre</a:t>
            </a:r>
            <a:endParaRPr lang="fr-FR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3F90D869-7A2C-2F2D-98DA-7DA86EBBB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itre de la question 1 ?</a:t>
            </a:r>
            <a:endParaRPr lang="fr-FR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1903C0D-9091-47C4-332D-48FBD0CA639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fr-FR"/>
              <a:t>Sous titre</a:t>
            </a:r>
            <a:endParaRPr lang="fr-FR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8E664F4-D52E-8D2E-025F-84EA0359E57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/>
              <a:t>Ceci est le titre d’un paragraphe</a:t>
            </a:r>
            <a:endParaRPr lang="fr-FR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B7A48B-6DEF-46DF-33F1-5F42519BAB0E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</a:pPr>
            <a:r>
              <a:rPr lang="fr-FR" sz="1000">
                <a:solidFill>
                  <a:schemeClr val="bg2"/>
                </a:solidFill>
                <a:latin typeface="+mj-lt"/>
              </a:rPr>
              <a:t>Nam, comniat issimi, ut ut undi abora eserspe con con poreruptae num volum nonecaes quam acesequi dolendam fugiaspit que rempos et dolupta volese occus</a:t>
            </a:r>
            <a:r>
              <a:rPr lang="fr-FR" sz="1000">
                <a:solidFill>
                  <a:schemeClr val="bg2"/>
                </a:solidFill>
              </a:rPr>
              <a:t>,</a:t>
            </a:r>
            <a:r>
              <a:rPr lang="fr-FR" sz="1000" b="1">
                <a:solidFill>
                  <a:schemeClr val="bg2"/>
                </a:solidFill>
              </a:rPr>
              <a:t> </a:t>
            </a:r>
            <a:r>
              <a:rPr lang="fr-FR" sz="1000">
                <a:solidFill>
                  <a:schemeClr val="bg2"/>
                </a:solidFill>
              </a:rPr>
              <a:t>nobis erruptae sed?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>
                <a:solidFill>
                  <a:schemeClr val="bg2"/>
                </a:solidFill>
              </a:rPr>
              <a:t>Uscipsam, et il iliquam doluptae dolorio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>
                <a:solidFill>
                  <a:schemeClr val="bg2"/>
                </a:solidFill>
              </a:rPr>
              <a:t>Lorepellenda nostenet as estinti nvellesequi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>
                <a:solidFill>
                  <a:schemeClr val="bg2"/>
                </a:solidFill>
              </a:rPr>
              <a:t>Magnia plit hitemolecea ea ipit que venturem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>
                <a:solidFill>
                  <a:schemeClr val="bg2"/>
                </a:solidFill>
              </a:rPr>
              <a:t>Sequis ipicid magnim qui aut perio. Am haribus, qui reptis autemod itatur?</a:t>
            </a:r>
            <a:endParaRPr lang="fr-FR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B0380AC-ABC6-8DC8-2834-6DFD3504D522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r>
              <a:rPr lang="fr-FR"/>
              <a:t>Ceci est le titre d’un paragraphe</a:t>
            </a:r>
            <a:endParaRPr lang="fr-FR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8B2641-84A4-63BF-7863-A54BDBCDE0DD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fr-FR" sz="1000">
                <a:solidFill>
                  <a:schemeClr val="bg2"/>
                </a:solidFill>
                <a:latin typeface="+mj-lt"/>
              </a:rPr>
              <a:t>Nam, comniat issimi, ut ut undi abora eserspe con con poreruptae num volum nonecaes quam acesequi dolendam fugiaspit que rempos et dolupta volese occus</a:t>
            </a:r>
            <a:r>
              <a:rPr lang="fr-FR" sz="1000" b="1">
                <a:solidFill>
                  <a:schemeClr val="bg2"/>
                </a:solidFill>
              </a:rPr>
              <a:t>, </a:t>
            </a:r>
            <a:r>
              <a:rPr lang="fr-FR" sz="1000">
                <a:solidFill>
                  <a:schemeClr val="bg2"/>
                </a:solidFill>
              </a:rPr>
              <a:t>nobis erruptae sed?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>
                <a:solidFill>
                  <a:schemeClr val="bg2"/>
                </a:solidFill>
              </a:rPr>
              <a:t>Uscipsam, et il iliquam doluptae dolorio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>
                <a:solidFill>
                  <a:schemeClr val="bg2"/>
                </a:solidFill>
              </a:rPr>
              <a:t>Lorepellenda nostenet as estinti nvellesequi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>
                <a:solidFill>
                  <a:schemeClr val="bg2"/>
                </a:solidFill>
              </a:rPr>
              <a:t>Magnia plit hitemolecea ea ipit que venturem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>
                <a:solidFill>
                  <a:schemeClr val="bg2"/>
                </a:solidFill>
              </a:rPr>
              <a:t>Sequis ipicid magnim qui aut perio. Am haribus, qui reptis autemod itatur?</a:t>
            </a:r>
          </a:p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</a:pPr>
            <a:r>
              <a:rPr lang="fr-FR" sz="1000">
                <a:solidFill>
                  <a:schemeClr val="bg2"/>
                </a:solidFill>
                <a:latin typeface="+mj-lt"/>
              </a:rPr>
              <a:t>Nam, comniat issimi, ut ut undi abora eserspe con con poreruptae num volum nonecaes quam acesequi dolendam fugiaspit que rempos et dolupta volese occus, </a:t>
            </a:r>
            <a:r>
              <a:rPr lang="fr-FR" sz="1000">
                <a:solidFill>
                  <a:schemeClr val="bg2"/>
                </a:solidFill>
              </a:rPr>
              <a:t>nobis erruptae sed quaecab inisti audit quid experion eum voluptu rionsed que possequi ut fugitende simet liquistiat autate eos dolut fugitatur? </a:t>
            </a:r>
            <a:endParaRPr lang="fr-FR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816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91813F0-6C64-0AC1-FC15-55207A3505CC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Sous titre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3F90D869-7A2C-2F2D-98DA-7DA86EBBB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de la question 2 ?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1903C0D-9091-47C4-332D-48FBD0CA639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fr-FR" dirty="0"/>
              <a:t>Sous ti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8E664F4-D52E-8D2E-025F-84EA0359E57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Ceci est le titre d’un paragraph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B7A48B-6DEF-46DF-33F1-5F42519BAB0E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dirty="0">
                <a:solidFill>
                  <a:schemeClr val="bg2"/>
                </a:solidFill>
              </a:rPr>
              <a:t>,</a:t>
            </a:r>
            <a:r>
              <a:rPr lang="fr-FR" sz="1000" b="1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?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Uscipsam</a:t>
            </a:r>
            <a:r>
              <a:rPr lang="fr-FR" sz="900" dirty="0">
                <a:solidFill>
                  <a:schemeClr val="bg2"/>
                </a:solidFill>
              </a:rPr>
              <a:t>, et il </a:t>
            </a:r>
            <a:r>
              <a:rPr lang="fr-FR" sz="900" dirty="0" err="1">
                <a:solidFill>
                  <a:schemeClr val="bg2"/>
                </a:solidFill>
              </a:rPr>
              <a:t>iliquam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uptae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orio</a:t>
            </a:r>
            <a:r>
              <a:rPr lang="fr-FR" sz="9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Lorepellenda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ostenet</a:t>
            </a:r>
            <a:r>
              <a:rPr lang="fr-FR" sz="900" dirty="0">
                <a:solidFill>
                  <a:schemeClr val="bg2"/>
                </a:solidFill>
              </a:rPr>
              <a:t> as </a:t>
            </a:r>
            <a:r>
              <a:rPr lang="fr-FR" sz="900" dirty="0" err="1">
                <a:solidFill>
                  <a:schemeClr val="bg2"/>
                </a:solidFill>
              </a:rPr>
              <a:t>estinti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vellesequi</a:t>
            </a:r>
            <a:r>
              <a:rPr lang="fr-FR" sz="900" dirty="0">
                <a:solidFill>
                  <a:schemeClr val="bg2"/>
                </a:solidFill>
              </a:rPr>
              <a:t>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Magni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li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hitemolec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t</a:t>
            </a:r>
            <a:r>
              <a:rPr lang="fr-FR" sz="800" dirty="0">
                <a:solidFill>
                  <a:schemeClr val="bg2"/>
                </a:solidFill>
              </a:rPr>
              <a:t> que </a:t>
            </a:r>
            <a:r>
              <a:rPr lang="fr-FR" sz="800" dirty="0" err="1">
                <a:solidFill>
                  <a:schemeClr val="bg2"/>
                </a:solidFill>
              </a:rPr>
              <a:t>venturem</a:t>
            </a:r>
            <a:endParaRPr lang="fr-FR" sz="800" dirty="0">
              <a:solidFill>
                <a:schemeClr val="bg2"/>
              </a:solidFill>
            </a:endParaRP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Sequ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ci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magnim</a:t>
            </a:r>
            <a:r>
              <a:rPr lang="fr-FR" sz="800" dirty="0">
                <a:solidFill>
                  <a:schemeClr val="bg2"/>
                </a:solidFill>
              </a:rPr>
              <a:t> qui </a:t>
            </a:r>
            <a:r>
              <a:rPr lang="fr-FR" sz="800" dirty="0" err="1">
                <a:solidFill>
                  <a:schemeClr val="bg2"/>
                </a:solidFill>
              </a:rPr>
              <a:t>au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erio</a:t>
            </a:r>
            <a:r>
              <a:rPr lang="fr-FR" sz="800" dirty="0">
                <a:solidFill>
                  <a:schemeClr val="bg2"/>
                </a:solidFill>
              </a:rPr>
              <a:t>. Am </a:t>
            </a:r>
            <a:r>
              <a:rPr lang="fr-FR" sz="800" dirty="0" err="1">
                <a:solidFill>
                  <a:schemeClr val="bg2"/>
                </a:solidFill>
              </a:rPr>
              <a:t>haribus</a:t>
            </a:r>
            <a:r>
              <a:rPr lang="fr-FR" sz="800" dirty="0">
                <a:solidFill>
                  <a:schemeClr val="bg2"/>
                </a:solidFill>
              </a:rPr>
              <a:t>, qui </a:t>
            </a:r>
            <a:r>
              <a:rPr lang="fr-FR" sz="800" dirty="0" err="1">
                <a:solidFill>
                  <a:schemeClr val="bg2"/>
                </a:solidFill>
              </a:rPr>
              <a:t>rept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autemo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tatur</a:t>
            </a:r>
            <a:r>
              <a:rPr lang="fr-FR" sz="800" dirty="0">
                <a:solidFill>
                  <a:schemeClr val="bg2"/>
                </a:solidFill>
              </a:rPr>
              <a:t>?</a:t>
            </a:r>
            <a:endParaRPr lang="fr-FR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B0380AC-ABC6-8DC8-2834-6DFD3504D522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r>
              <a:rPr lang="fr-FR" dirty="0"/>
              <a:t>Ceci est le titre d’un paragraph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8B2641-84A4-63BF-7863-A54BDBCDE0DD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b="1" dirty="0">
                <a:solidFill>
                  <a:schemeClr val="bg2"/>
                </a:solidFill>
              </a:rPr>
              <a:t>,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?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Uscipsam</a:t>
            </a:r>
            <a:r>
              <a:rPr lang="fr-FR" sz="900" dirty="0">
                <a:solidFill>
                  <a:schemeClr val="bg2"/>
                </a:solidFill>
              </a:rPr>
              <a:t>, et il </a:t>
            </a:r>
            <a:r>
              <a:rPr lang="fr-FR" sz="900" dirty="0" err="1">
                <a:solidFill>
                  <a:schemeClr val="bg2"/>
                </a:solidFill>
              </a:rPr>
              <a:t>iliquam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uptae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orio</a:t>
            </a:r>
            <a:r>
              <a:rPr lang="fr-FR" sz="9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Lorepellenda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ostenet</a:t>
            </a:r>
            <a:r>
              <a:rPr lang="fr-FR" sz="900" dirty="0">
                <a:solidFill>
                  <a:schemeClr val="bg2"/>
                </a:solidFill>
              </a:rPr>
              <a:t> as </a:t>
            </a:r>
            <a:r>
              <a:rPr lang="fr-FR" sz="900" dirty="0" err="1">
                <a:solidFill>
                  <a:schemeClr val="bg2"/>
                </a:solidFill>
              </a:rPr>
              <a:t>estinti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vellesequi</a:t>
            </a:r>
            <a:r>
              <a:rPr lang="fr-FR" sz="900" dirty="0">
                <a:solidFill>
                  <a:schemeClr val="bg2"/>
                </a:solidFill>
              </a:rPr>
              <a:t>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Magni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li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hitemolec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t</a:t>
            </a:r>
            <a:r>
              <a:rPr lang="fr-FR" sz="800" dirty="0">
                <a:solidFill>
                  <a:schemeClr val="bg2"/>
                </a:solidFill>
              </a:rPr>
              <a:t> que </a:t>
            </a:r>
            <a:r>
              <a:rPr lang="fr-FR" sz="800" dirty="0" err="1">
                <a:solidFill>
                  <a:schemeClr val="bg2"/>
                </a:solidFill>
              </a:rPr>
              <a:t>venturem</a:t>
            </a:r>
            <a:endParaRPr lang="fr-FR" sz="800" dirty="0">
              <a:solidFill>
                <a:schemeClr val="bg2"/>
              </a:solidFill>
            </a:endParaRP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Sequ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ci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magnim</a:t>
            </a:r>
            <a:r>
              <a:rPr lang="fr-FR" sz="800" dirty="0">
                <a:solidFill>
                  <a:schemeClr val="bg2"/>
                </a:solidFill>
              </a:rPr>
              <a:t> qui </a:t>
            </a:r>
            <a:r>
              <a:rPr lang="fr-FR" sz="800" dirty="0" err="1">
                <a:solidFill>
                  <a:schemeClr val="bg2"/>
                </a:solidFill>
              </a:rPr>
              <a:t>au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erio</a:t>
            </a:r>
            <a:r>
              <a:rPr lang="fr-FR" sz="800" dirty="0">
                <a:solidFill>
                  <a:schemeClr val="bg2"/>
                </a:solidFill>
              </a:rPr>
              <a:t>. Am </a:t>
            </a:r>
            <a:r>
              <a:rPr lang="fr-FR" sz="800" dirty="0" err="1">
                <a:solidFill>
                  <a:schemeClr val="bg2"/>
                </a:solidFill>
              </a:rPr>
              <a:t>haribus</a:t>
            </a:r>
            <a:r>
              <a:rPr lang="fr-FR" sz="800" dirty="0">
                <a:solidFill>
                  <a:schemeClr val="bg2"/>
                </a:solidFill>
              </a:rPr>
              <a:t>, qui </a:t>
            </a:r>
            <a:r>
              <a:rPr lang="fr-FR" sz="800" dirty="0" err="1">
                <a:solidFill>
                  <a:schemeClr val="bg2"/>
                </a:solidFill>
              </a:rPr>
              <a:t>rept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autemo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tatur</a:t>
            </a:r>
            <a:r>
              <a:rPr lang="fr-FR" sz="800" dirty="0">
                <a:solidFill>
                  <a:schemeClr val="bg2"/>
                </a:solidFill>
              </a:rPr>
              <a:t>?</a:t>
            </a:r>
          </a:p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aecab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inisti</a:t>
            </a:r>
            <a:r>
              <a:rPr lang="fr-FR" sz="1000" dirty="0">
                <a:solidFill>
                  <a:schemeClr val="bg2"/>
                </a:solidFill>
              </a:rPr>
              <a:t> audit quid </a:t>
            </a:r>
            <a:r>
              <a:rPr lang="fr-FR" sz="1000" dirty="0" err="1">
                <a:solidFill>
                  <a:schemeClr val="bg2"/>
                </a:solidFill>
              </a:rPr>
              <a:t>experion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voluptu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rionsed</a:t>
            </a:r>
            <a:r>
              <a:rPr lang="fr-FR" sz="1000" dirty="0">
                <a:solidFill>
                  <a:schemeClr val="bg2"/>
                </a:solidFill>
              </a:rPr>
              <a:t> que </a:t>
            </a:r>
            <a:r>
              <a:rPr lang="fr-FR" sz="1000" dirty="0" err="1">
                <a:solidFill>
                  <a:schemeClr val="bg2"/>
                </a:solidFill>
              </a:rPr>
              <a:t>possequi</a:t>
            </a:r>
            <a:r>
              <a:rPr lang="fr-FR" sz="1000" dirty="0">
                <a:solidFill>
                  <a:schemeClr val="bg2"/>
                </a:solidFill>
              </a:rPr>
              <a:t> ut </a:t>
            </a:r>
            <a:r>
              <a:rPr lang="fr-FR" sz="1000" dirty="0" err="1">
                <a:solidFill>
                  <a:schemeClr val="bg2"/>
                </a:solidFill>
              </a:rPr>
              <a:t>fugitend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ime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liquistia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autat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o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fugitatur</a:t>
            </a:r>
            <a:r>
              <a:rPr lang="fr-FR" sz="1000" dirty="0">
                <a:solidFill>
                  <a:schemeClr val="bg2"/>
                </a:solidFill>
              </a:rPr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1767492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568C86C-4049-37E3-52D3-B20C1D7B78B4}"/>
              </a:ext>
            </a:extLst>
          </p:cNvPr>
          <p:cNvSpPr/>
          <p:nvPr/>
        </p:nvSpPr>
        <p:spPr>
          <a:xfrm>
            <a:off x="0" y="8538882"/>
            <a:ext cx="7559675" cy="21529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noAutofit/>
          </a:bodyPr>
          <a:lstStyle/>
          <a:p>
            <a:pPr algn="ctr" defTabSz="755934"/>
            <a:endParaRPr lang="fr-FR" sz="1200" b="1" noProof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91813F0-6C64-0AC1-FC15-55207A3505CC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Sous titre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3F90D869-7A2C-2F2D-98DA-7DA86EBBB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de la question 3 ?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1903C0D-9091-47C4-332D-48FBD0CA639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0" y="4141022"/>
            <a:ext cx="2159999" cy="288000"/>
          </a:xfrm>
        </p:spPr>
        <p:txBody>
          <a:bodyPr/>
          <a:lstStyle/>
          <a:p>
            <a:r>
              <a:rPr lang="fr-FR" dirty="0"/>
              <a:t>Sous ti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8E664F4-D52E-8D2E-025F-84EA0359E57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Ceci est le titre d’un paragraph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B7A48B-6DEF-46DF-33F1-5F42519BAB0E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dirty="0">
                <a:solidFill>
                  <a:schemeClr val="bg2"/>
                </a:solidFill>
              </a:rPr>
              <a:t>,</a:t>
            </a:r>
            <a:r>
              <a:rPr lang="fr-FR" sz="1000" b="1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?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Uscipsam</a:t>
            </a:r>
            <a:r>
              <a:rPr lang="fr-FR" sz="900" dirty="0">
                <a:solidFill>
                  <a:schemeClr val="bg2"/>
                </a:solidFill>
              </a:rPr>
              <a:t>, et il </a:t>
            </a:r>
            <a:r>
              <a:rPr lang="fr-FR" sz="900" dirty="0" err="1">
                <a:solidFill>
                  <a:schemeClr val="bg2"/>
                </a:solidFill>
              </a:rPr>
              <a:t>iliquam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uptae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orio</a:t>
            </a:r>
            <a:r>
              <a:rPr lang="fr-FR" sz="9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Lorepellenda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ostenet</a:t>
            </a:r>
            <a:r>
              <a:rPr lang="fr-FR" sz="900" dirty="0">
                <a:solidFill>
                  <a:schemeClr val="bg2"/>
                </a:solidFill>
              </a:rPr>
              <a:t> as </a:t>
            </a:r>
            <a:r>
              <a:rPr lang="fr-FR" sz="900" dirty="0" err="1">
                <a:solidFill>
                  <a:schemeClr val="bg2"/>
                </a:solidFill>
              </a:rPr>
              <a:t>estinti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vellesequi</a:t>
            </a:r>
            <a:r>
              <a:rPr lang="fr-FR" sz="900" dirty="0">
                <a:solidFill>
                  <a:schemeClr val="bg2"/>
                </a:solidFill>
              </a:rPr>
              <a:t>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Magni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li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hitemolec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t</a:t>
            </a:r>
            <a:r>
              <a:rPr lang="fr-FR" sz="800" dirty="0">
                <a:solidFill>
                  <a:schemeClr val="bg2"/>
                </a:solidFill>
              </a:rPr>
              <a:t> que </a:t>
            </a:r>
            <a:r>
              <a:rPr lang="fr-FR" sz="800" dirty="0" err="1">
                <a:solidFill>
                  <a:schemeClr val="bg2"/>
                </a:solidFill>
              </a:rPr>
              <a:t>venturem</a:t>
            </a:r>
            <a:endParaRPr lang="fr-FR" sz="800" dirty="0">
              <a:solidFill>
                <a:schemeClr val="bg2"/>
              </a:solidFill>
            </a:endParaRP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Sequ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ci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magnim</a:t>
            </a:r>
            <a:r>
              <a:rPr lang="fr-FR" sz="800" dirty="0">
                <a:solidFill>
                  <a:schemeClr val="bg2"/>
                </a:solidFill>
              </a:rPr>
              <a:t> qui </a:t>
            </a:r>
            <a:r>
              <a:rPr lang="fr-FR" sz="800" dirty="0" err="1">
                <a:solidFill>
                  <a:schemeClr val="bg2"/>
                </a:solidFill>
              </a:rPr>
              <a:t>au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erio</a:t>
            </a:r>
            <a:r>
              <a:rPr lang="fr-FR" sz="800" dirty="0">
                <a:solidFill>
                  <a:schemeClr val="bg2"/>
                </a:solidFill>
              </a:rPr>
              <a:t>. Am </a:t>
            </a:r>
            <a:r>
              <a:rPr lang="fr-FR" sz="800" dirty="0" err="1">
                <a:solidFill>
                  <a:schemeClr val="bg2"/>
                </a:solidFill>
              </a:rPr>
              <a:t>haribus</a:t>
            </a:r>
            <a:r>
              <a:rPr lang="fr-FR" sz="800" dirty="0">
                <a:solidFill>
                  <a:schemeClr val="bg2"/>
                </a:solidFill>
              </a:rPr>
              <a:t>, qui </a:t>
            </a:r>
            <a:r>
              <a:rPr lang="fr-FR" sz="800" dirty="0" err="1">
                <a:solidFill>
                  <a:schemeClr val="bg2"/>
                </a:solidFill>
              </a:rPr>
              <a:t>rept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autemo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tatur</a:t>
            </a:r>
            <a:r>
              <a:rPr lang="fr-FR" sz="800" dirty="0">
                <a:solidFill>
                  <a:schemeClr val="bg2"/>
                </a:solidFill>
              </a:rPr>
              <a:t>?</a:t>
            </a:r>
            <a:endParaRPr lang="fr-FR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B0380AC-ABC6-8DC8-2834-6DFD3504D522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663184" y="4555449"/>
            <a:ext cx="6227997" cy="169277"/>
          </a:xfrm>
        </p:spPr>
        <p:txBody>
          <a:bodyPr/>
          <a:lstStyle/>
          <a:p>
            <a:r>
              <a:rPr lang="fr-FR" dirty="0"/>
              <a:t>Ceci est le titre d’un paragraph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8B2641-84A4-63BF-7863-A54BDBCDE0DD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663184" y="4793164"/>
            <a:ext cx="6227997" cy="1714722"/>
          </a:xfrm>
        </p:spPr>
        <p:txBody>
          <a:bodyPr/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b="1" dirty="0">
                <a:solidFill>
                  <a:schemeClr val="bg2"/>
                </a:solidFill>
              </a:rPr>
              <a:t>,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?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Uscipsam</a:t>
            </a:r>
            <a:r>
              <a:rPr lang="fr-FR" sz="900" dirty="0">
                <a:solidFill>
                  <a:schemeClr val="bg2"/>
                </a:solidFill>
              </a:rPr>
              <a:t>, et il </a:t>
            </a:r>
            <a:r>
              <a:rPr lang="fr-FR" sz="900" dirty="0" err="1">
                <a:solidFill>
                  <a:schemeClr val="bg2"/>
                </a:solidFill>
              </a:rPr>
              <a:t>iliquam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uptae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orio</a:t>
            </a:r>
            <a:r>
              <a:rPr lang="fr-FR" sz="9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Lorepellenda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ostenet</a:t>
            </a:r>
            <a:r>
              <a:rPr lang="fr-FR" sz="900" dirty="0">
                <a:solidFill>
                  <a:schemeClr val="bg2"/>
                </a:solidFill>
              </a:rPr>
              <a:t> as </a:t>
            </a:r>
            <a:r>
              <a:rPr lang="fr-FR" sz="900" dirty="0" err="1">
                <a:solidFill>
                  <a:schemeClr val="bg2"/>
                </a:solidFill>
              </a:rPr>
              <a:t>estinti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vellesequi</a:t>
            </a:r>
            <a:r>
              <a:rPr lang="fr-FR" sz="900" dirty="0">
                <a:solidFill>
                  <a:schemeClr val="bg2"/>
                </a:solidFill>
              </a:rPr>
              <a:t>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Magni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li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hitemolec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t</a:t>
            </a:r>
            <a:r>
              <a:rPr lang="fr-FR" sz="800" dirty="0">
                <a:solidFill>
                  <a:schemeClr val="bg2"/>
                </a:solidFill>
              </a:rPr>
              <a:t> que </a:t>
            </a:r>
            <a:r>
              <a:rPr lang="fr-FR" sz="800" dirty="0" err="1">
                <a:solidFill>
                  <a:schemeClr val="bg2"/>
                </a:solidFill>
              </a:rPr>
              <a:t>venturem</a:t>
            </a:r>
            <a:endParaRPr lang="fr-FR" sz="800" dirty="0">
              <a:solidFill>
                <a:schemeClr val="bg2"/>
              </a:solidFill>
            </a:endParaRP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Sequ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ci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magnim</a:t>
            </a:r>
            <a:r>
              <a:rPr lang="fr-FR" sz="800" dirty="0">
                <a:solidFill>
                  <a:schemeClr val="bg2"/>
                </a:solidFill>
              </a:rPr>
              <a:t> qui </a:t>
            </a:r>
            <a:r>
              <a:rPr lang="fr-FR" sz="800" dirty="0" err="1">
                <a:solidFill>
                  <a:schemeClr val="bg2"/>
                </a:solidFill>
              </a:rPr>
              <a:t>au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erio</a:t>
            </a:r>
            <a:r>
              <a:rPr lang="fr-FR" sz="800" dirty="0">
                <a:solidFill>
                  <a:schemeClr val="bg2"/>
                </a:solidFill>
              </a:rPr>
              <a:t>. Am </a:t>
            </a:r>
            <a:r>
              <a:rPr lang="fr-FR" sz="800" dirty="0" err="1">
                <a:solidFill>
                  <a:schemeClr val="bg2"/>
                </a:solidFill>
              </a:rPr>
              <a:t>haribus</a:t>
            </a:r>
            <a:r>
              <a:rPr lang="fr-FR" sz="800" dirty="0">
                <a:solidFill>
                  <a:schemeClr val="bg2"/>
                </a:solidFill>
              </a:rPr>
              <a:t>, qui </a:t>
            </a:r>
            <a:r>
              <a:rPr lang="fr-FR" sz="800" dirty="0" err="1">
                <a:solidFill>
                  <a:schemeClr val="bg2"/>
                </a:solidFill>
              </a:rPr>
              <a:t>rept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autemo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tatur</a:t>
            </a:r>
            <a:r>
              <a:rPr lang="fr-FR" sz="800" dirty="0">
                <a:solidFill>
                  <a:schemeClr val="bg2"/>
                </a:solidFill>
              </a:rPr>
              <a:t>?</a:t>
            </a:r>
          </a:p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quaecab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inisti</a:t>
            </a:r>
            <a:r>
              <a:rPr lang="fr-FR" sz="1000" dirty="0">
                <a:solidFill>
                  <a:schemeClr val="bg2"/>
                </a:solidFill>
              </a:rPr>
              <a:t> audit quid </a:t>
            </a:r>
            <a:r>
              <a:rPr lang="fr-FR" sz="1000" dirty="0" err="1">
                <a:solidFill>
                  <a:schemeClr val="bg2"/>
                </a:solidFill>
              </a:rPr>
              <a:t>experion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um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voluptu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rionsed</a:t>
            </a:r>
            <a:r>
              <a:rPr lang="fr-FR" sz="1000" dirty="0">
                <a:solidFill>
                  <a:schemeClr val="bg2"/>
                </a:solidFill>
              </a:rPr>
              <a:t> que </a:t>
            </a:r>
            <a:r>
              <a:rPr lang="fr-FR" sz="1000" dirty="0" err="1">
                <a:solidFill>
                  <a:schemeClr val="bg2"/>
                </a:solidFill>
              </a:rPr>
              <a:t>possequi</a:t>
            </a:r>
            <a:r>
              <a:rPr lang="fr-FR" sz="1000" dirty="0">
                <a:solidFill>
                  <a:schemeClr val="bg2"/>
                </a:solidFill>
              </a:rPr>
              <a:t> ut </a:t>
            </a:r>
            <a:r>
              <a:rPr lang="fr-FR" sz="1000" dirty="0" err="1">
                <a:solidFill>
                  <a:schemeClr val="bg2"/>
                </a:solidFill>
              </a:rPr>
              <a:t>fugitend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ime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liquistia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autat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o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dolut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fugitatur</a:t>
            </a:r>
            <a:r>
              <a:rPr lang="fr-FR" sz="1000" dirty="0">
                <a:solidFill>
                  <a:schemeClr val="bg2"/>
                </a:solidFill>
              </a:rPr>
              <a:t>?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8C6417-E52A-4457-10DE-081D0154A3E5}"/>
              </a:ext>
            </a:extLst>
          </p:cNvPr>
          <p:cNvSpPr/>
          <p:nvPr/>
        </p:nvSpPr>
        <p:spPr>
          <a:xfrm>
            <a:off x="539837" y="8501333"/>
            <a:ext cx="6480000" cy="90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b="1" dirty="0">
              <a:solidFill>
                <a:schemeClr val="bg2"/>
              </a:solidFill>
              <a:latin typeface="+mj-lt"/>
            </a:endParaRPr>
          </a:p>
        </p:txBody>
      </p:sp>
      <p:graphicFrame>
        <p:nvGraphicFramePr>
          <p:cNvPr id="2" name="Table 14">
            <a:extLst>
              <a:ext uri="{FF2B5EF4-FFF2-40B4-BE49-F238E27FC236}">
                <a16:creationId xmlns:a16="http://schemas.microsoft.com/office/drawing/2014/main" id="{CB8FE255-658E-F56E-3A5E-86F48AC82D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9783739"/>
              </p:ext>
            </p:extLst>
          </p:nvPr>
        </p:nvGraphicFramePr>
        <p:xfrm>
          <a:off x="683837" y="6881303"/>
          <a:ext cx="6192000" cy="25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2000">
                  <a:extLst>
                    <a:ext uri="{9D8B030D-6E8A-4147-A177-3AD203B41FA5}">
                      <a16:colId xmlns:a16="http://schemas.microsoft.com/office/drawing/2014/main" val="517288983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090245040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1205451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357995985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555038800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731396602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fr-FR" sz="1000" b="0" i="0" noProof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1" i="0" noProof="0" dirty="0">
                          <a:solidFill>
                            <a:srgbClr val="FFFFFF"/>
                          </a:solidFill>
                          <a:latin typeface="+mn-lt"/>
                        </a:rPr>
                        <a:t>Colonne 1</a:t>
                      </a:r>
                      <a:endParaRPr lang="fr-FR" sz="900" b="1" noProof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onne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onne 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onn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onne 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19814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900" b="0" i="0" noProof="0" dirty="0">
                          <a:solidFill>
                            <a:schemeClr val="bg2"/>
                          </a:solidFill>
                          <a:latin typeface="+mn-lt"/>
                        </a:rPr>
                        <a:t>Item 1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863252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tem 2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34087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tem 3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3396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tem 4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2001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900" b="1" i="0" noProof="0" dirty="0">
                          <a:solidFill>
                            <a:schemeClr val="bg2"/>
                          </a:solidFill>
                          <a:latin typeface="+mn-lt"/>
                        </a:rPr>
                        <a:t>Total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83859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fr-FR" sz="900" b="0" i="0" noProof="0" dirty="0">
                          <a:solidFill>
                            <a:schemeClr val="bg2"/>
                          </a:solidFill>
                          <a:latin typeface="+mn-lt"/>
                        </a:rPr>
                        <a:t>Item 5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24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849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FE763A-63D1-7788-6B50-1F3C2DB5136E}"/>
              </a:ext>
            </a:extLst>
          </p:cNvPr>
          <p:cNvSpPr/>
          <p:nvPr/>
        </p:nvSpPr>
        <p:spPr>
          <a:xfrm>
            <a:off x="1" y="4305142"/>
            <a:ext cx="7559674" cy="2880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noAutofit/>
          </a:bodyPr>
          <a:lstStyle/>
          <a:p>
            <a:pPr algn="ctr" defTabSz="755934"/>
            <a:endParaRPr lang="fr-FR" sz="1200" b="1" noProof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3E4DBD-4B05-D550-A8F2-923AB06D84DA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52F4D18-CE8B-D0D7-0299-773719356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eci est le titre </a:t>
            </a:r>
            <a:br>
              <a:rPr lang="fr-FR" dirty="0"/>
            </a:br>
            <a:r>
              <a:rPr lang="fr-FR" dirty="0"/>
              <a:t>de la diapositive sur 2 lign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2F1ED6B-9F72-15D9-D72E-A3CEFD44D0A2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8D9CB32-0702-C416-965B-D608A4A5AEF5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r>
              <a:rPr lang="fr-FR" dirty="0"/>
              <a:t>Titre infographie</a:t>
            </a:r>
          </a:p>
        </p:txBody>
      </p:sp>
      <p:graphicFrame>
        <p:nvGraphicFramePr>
          <p:cNvPr id="18" name="Espace réservé du graphique 15">
            <a:extLst>
              <a:ext uri="{FF2B5EF4-FFF2-40B4-BE49-F238E27FC236}">
                <a16:creationId xmlns:a16="http://schemas.microsoft.com/office/drawing/2014/main" id="{90CDCAE1-1DB0-6CAC-4345-37D5C756CF26}"/>
              </a:ext>
            </a:extLst>
          </p:cNvPr>
          <p:cNvGraphicFramePr>
            <a:graphicFrameLocks noGrp="1"/>
          </p:cNvGraphicFramePr>
          <p:nvPr>
            <p:ph type="chart" sz="quarter" idx="79"/>
            <p:extLst>
              <p:ext uri="{D42A27DB-BD31-4B8C-83A1-F6EECF244321}">
                <p14:modId xmlns:p14="http://schemas.microsoft.com/office/powerpoint/2010/main" val="2107747887"/>
              </p:ext>
            </p:extLst>
          </p:nvPr>
        </p:nvGraphicFramePr>
        <p:xfrm>
          <a:off x="668337" y="2095500"/>
          <a:ext cx="4407737" cy="1943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5D2A720-B725-123E-6948-D60A36109381}"/>
              </a:ext>
            </a:extLst>
          </p:cNvPr>
          <p:cNvSpPr/>
          <p:nvPr/>
        </p:nvSpPr>
        <p:spPr>
          <a:xfrm>
            <a:off x="5271182" y="2095360"/>
            <a:ext cx="1620000" cy="1944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anchor="ctr">
            <a:noAutofit/>
          </a:bodyPr>
          <a:lstStyle/>
          <a:p>
            <a:pPr algn="ctr" defTabSz="755934"/>
            <a:endParaRPr lang="fr-FR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B56438B-450E-D551-FDCA-9AA33DA1E1C1}"/>
              </a:ext>
            </a:extLst>
          </p:cNvPr>
          <p:cNvSpPr txBox="1">
            <a:spLocks/>
          </p:cNvSpPr>
          <p:nvPr/>
        </p:nvSpPr>
        <p:spPr>
          <a:xfrm>
            <a:off x="5466289" y="2927716"/>
            <a:ext cx="1229786" cy="830997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Ovid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esequis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quas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aut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quo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cullatq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uatiate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nonse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sum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sant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il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esti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nem re,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cus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utem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quos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sintendae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900" b="1" dirty="0" err="1">
                <a:solidFill>
                  <a:srgbClr val="FFFFFF"/>
                </a:solidFill>
                <a:latin typeface="+mj-lt"/>
              </a:rPr>
              <a:t>rentint</a:t>
            </a:r>
            <a:r>
              <a:rPr lang="fr-FR" sz="900" b="1" dirty="0">
                <a:solidFill>
                  <a:srgbClr val="FFFFFF"/>
                </a:solidFill>
                <a:latin typeface="+mj-lt"/>
              </a:rPr>
              <a:t>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7E3223DE-3358-F846-1508-601B5B885A0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3422" t="-5965" r="-3422" b="-5965"/>
          <a:stretch/>
        </p:blipFill>
        <p:spPr>
          <a:xfrm>
            <a:off x="5865180" y="2376008"/>
            <a:ext cx="432004" cy="432000"/>
          </a:xfrm>
          <a:prstGeom prst="rect">
            <a:avLst/>
          </a:prstGeom>
        </p:spPr>
      </p:pic>
      <p:graphicFrame>
        <p:nvGraphicFramePr>
          <p:cNvPr id="22" name="Chart Placeholder 13">
            <a:extLst>
              <a:ext uri="{FF2B5EF4-FFF2-40B4-BE49-F238E27FC236}">
                <a16:creationId xmlns:a16="http://schemas.microsoft.com/office/drawing/2014/main" id="{4C55721B-B6F2-96B3-C6CB-80616EFAD854}"/>
              </a:ext>
            </a:extLst>
          </p:cNvPr>
          <p:cNvGraphicFramePr>
            <a:graphicFrameLocks noGrp="1"/>
          </p:cNvGraphicFramePr>
          <p:nvPr>
            <p:ph type="chart" sz="quarter" idx="80"/>
            <p:extLst>
              <p:ext uri="{D42A27DB-BD31-4B8C-83A1-F6EECF244321}">
                <p14:modId xmlns:p14="http://schemas.microsoft.com/office/powerpoint/2010/main" val="296860616"/>
              </p:ext>
            </p:extLst>
          </p:nvPr>
        </p:nvGraphicFramePr>
        <p:xfrm>
          <a:off x="668338" y="4975225"/>
          <a:ext cx="6223000" cy="194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1" name="Chart Placeholder 11">
            <a:extLst>
              <a:ext uri="{FF2B5EF4-FFF2-40B4-BE49-F238E27FC236}">
                <a16:creationId xmlns:a16="http://schemas.microsoft.com/office/drawing/2014/main" id="{5A377C85-CA6A-808A-E404-EA61B5078856}"/>
              </a:ext>
            </a:extLst>
          </p:cNvPr>
          <p:cNvGraphicFramePr>
            <a:graphicFrameLocks noGrp="1"/>
          </p:cNvGraphicFramePr>
          <p:nvPr>
            <p:ph type="chart" sz="quarter" idx="81"/>
          </p:nvPr>
        </p:nvGraphicFramePr>
        <p:xfrm>
          <a:off x="668338" y="7856538"/>
          <a:ext cx="6223000" cy="1943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7A5606F7-A63E-2082-7830-FD362EF6701C}"/>
              </a:ext>
            </a:extLst>
          </p:cNvPr>
          <p:cNvSpPr txBox="1">
            <a:spLocks/>
          </p:cNvSpPr>
          <p:nvPr/>
        </p:nvSpPr>
        <p:spPr>
          <a:xfrm>
            <a:off x="1330330" y="8579193"/>
            <a:ext cx="848933" cy="479463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fr-FR" sz="800" b="1" dirty="0">
                <a:solidFill>
                  <a:schemeClr val="bg2"/>
                </a:solidFill>
                <a:latin typeface="+mj-lt"/>
              </a:rPr>
              <a:t>Lorem ipsum </a:t>
            </a:r>
            <a:r>
              <a:rPr lang="fr-FR" sz="800" b="1" dirty="0" err="1">
                <a:solidFill>
                  <a:schemeClr val="bg2"/>
                </a:solidFill>
                <a:latin typeface="+mj-lt"/>
              </a:rPr>
              <a:t>dolor</a:t>
            </a:r>
            <a:r>
              <a:rPr lang="fr-FR" sz="800" b="1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800" b="1" dirty="0" err="1">
                <a:solidFill>
                  <a:schemeClr val="bg2"/>
                </a:solidFill>
                <a:latin typeface="+mj-lt"/>
              </a:rPr>
              <a:t>sit</a:t>
            </a:r>
            <a:r>
              <a:rPr lang="fr-FR" sz="800" b="1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800" b="1" dirty="0" err="1">
                <a:solidFill>
                  <a:schemeClr val="bg2"/>
                </a:solidFill>
                <a:latin typeface="+mj-lt"/>
              </a:rPr>
              <a:t>amet</a:t>
            </a:r>
            <a:r>
              <a:rPr lang="fr-FR" sz="800" b="1" dirty="0">
                <a:solidFill>
                  <a:schemeClr val="bg2"/>
                </a:solidFill>
                <a:latin typeface="+mj-lt"/>
              </a:rPr>
              <a:t>, </a:t>
            </a:r>
            <a:r>
              <a:rPr lang="fr-FR" sz="800" b="1" dirty="0" err="1">
                <a:solidFill>
                  <a:schemeClr val="bg2"/>
                </a:solidFill>
                <a:latin typeface="+mj-lt"/>
              </a:rPr>
              <a:t>consectetur</a:t>
            </a:r>
            <a:r>
              <a:rPr lang="fr-FR" sz="800" b="1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800" b="1" dirty="0" err="1">
                <a:solidFill>
                  <a:schemeClr val="bg2"/>
                </a:solidFill>
                <a:latin typeface="+mj-lt"/>
              </a:rPr>
              <a:t>adipiscing</a:t>
            </a:r>
            <a:r>
              <a:rPr lang="fr-FR" sz="800" b="1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800" b="1" dirty="0" err="1">
                <a:solidFill>
                  <a:schemeClr val="bg2"/>
                </a:solidFill>
                <a:latin typeface="+mj-lt"/>
              </a:rPr>
              <a:t>elit</a:t>
            </a:r>
            <a:endParaRPr lang="fr-FR" sz="120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0450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A0CB04-0DF5-F90A-C178-CC46A580431F}"/>
              </a:ext>
            </a:extLst>
          </p:cNvPr>
          <p:cNvSpPr/>
          <p:nvPr/>
        </p:nvSpPr>
        <p:spPr>
          <a:xfrm>
            <a:off x="0" y="5661212"/>
            <a:ext cx="7559675" cy="396440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noAutofit/>
          </a:bodyPr>
          <a:lstStyle/>
          <a:p>
            <a:pPr algn="ctr" defTabSz="755934"/>
            <a:endParaRPr lang="fr-FR" sz="1200" b="1" dirty="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3" name="Groupe 8">
            <a:extLst>
              <a:ext uri="{FF2B5EF4-FFF2-40B4-BE49-F238E27FC236}">
                <a16:creationId xmlns:a16="http://schemas.microsoft.com/office/drawing/2014/main" id="{871BA792-E8E1-48FF-C530-2BC615EEB581}"/>
              </a:ext>
            </a:extLst>
          </p:cNvPr>
          <p:cNvGrpSpPr/>
          <p:nvPr/>
        </p:nvGrpSpPr>
        <p:grpSpPr>
          <a:xfrm>
            <a:off x="4445001" y="5302501"/>
            <a:ext cx="3114674" cy="1029506"/>
            <a:chOff x="4445001" y="4240184"/>
            <a:chExt cx="3114674" cy="1029506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0888431-B2CF-16D5-4FC7-5556A9C8AC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5586" t="68536" r="34757"/>
            <a:stretch/>
          </p:blipFill>
          <p:spPr>
            <a:xfrm>
              <a:off x="4445001" y="4240184"/>
              <a:ext cx="3114674" cy="289643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446BF8CB-1C41-A39A-161E-60D67B320D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5586" r="34757" b="31464"/>
            <a:stretch/>
          </p:blipFill>
          <p:spPr>
            <a:xfrm>
              <a:off x="4445001" y="4638769"/>
              <a:ext cx="3114674" cy="630921"/>
            </a:xfrm>
            <a:prstGeom prst="rect">
              <a:avLst/>
            </a:prstGeom>
          </p:spPr>
        </p:pic>
      </p:grp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91813F0-6C64-0AC1-FC15-55207A3505CC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fr-FR" dirty="0"/>
              <a:t>Tendances à suivre 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3F90D869-7A2C-2F2D-98DA-7DA86EBBB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eci est le titre </a:t>
            </a:r>
            <a:br>
              <a:rPr lang="fr-FR" dirty="0"/>
            </a:br>
            <a:r>
              <a:rPr lang="fr-FR" dirty="0"/>
              <a:t>de la diapositive sur 2 lign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1903C0D-9091-47C4-332D-48FBD0CA639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fr-FR" dirty="0"/>
              <a:t>Indicateurs à surveiller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8E664F4-D52E-8D2E-025F-84EA0359E57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fr-FR" dirty="0"/>
              <a:t>Ceci est le titre d’un paragraph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B7A48B-6DEF-46DF-33F1-5F42519BAB0E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dirty="0">
                <a:solidFill>
                  <a:schemeClr val="bg2"/>
                </a:solidFill>
              </a:rPr>
              <a:t>,</a:t>
            </a:r>
            <a:r>
              <a:rPr lang="fr-FR" sz="1000" b="1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?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Uscipsam</a:t>
            </a:r>
            <a:r>
              <a:rPr lang="fr-FR" sz="900" dirty="0">
                <a:solidFill>
                  <a:schemeClr val="bg2"/>
                </a:solidFill>
              </a:rPr>
              <a:t>, et il </a:t>
            </a:r>
            <a:r>
              <a:rPr lang="fr-FR" sz="900" dirty="0" err="1">
                <a:solidFill>
                  <a:schemeClr val="bg2"/>
                </a:solidFill>
              </a:rPr>
              <a:t>iliquam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uptae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orio</a:t>
            </a:r>
            <a:r>
              <a:rPr lang="fr-FR" sz="9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Lorepellenda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ostenet</a:t>
            </a:r>
            <a:r>
              <a:rPr lang="fr-FR" sz="900" dirty="0">
                <a:solidFill>
                  <a:schemeClr val="bg2"/>
                </a:solidFill>
              </a:rPr>
              <a:t> as </a:t>
            </a:r>
            <a:r>
              <a:rPr lang="fr-FR" sz="900" dirty="0" err="1">
                <a:solidFill>
                  <a:schemeClr val="bg2"/>
                </a:solidFill>
              </a:rPr>
              <a:t>estinti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vellesequi</a:t>
            </a:r>
            <a:r>
              <a:rPr lang="fr-FR" sz="900" dirty="0">
                <a:solidFill>
                  <a:schemeClr val="bg2"/>
                </a:solidFill>
              </a:rPr>
              <a:t>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Magni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li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hitemolec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t</a:t>
            </a:r>
            <a:r>
              <a:rPr lang="fr-FR" sz="800" dirty="0">
                <a:solidFill>
                  <a:schemeClr val="bg2"/>
                </a:solidFill>
              </a:rPr>
              <a:t> que </a:t>
            </a:r>
            <a:r>
              <a:rPr lang="fr-FR" sz="800" dirty="0" err="1">
                <a:solidFill>
                  <a:schemeClr val="bg2"/>
                </a:solidFill>
              </a:rPr>
              <a:t>venturem</a:t>
            </a:r>
            <a:endParaRPr lang="fr-FR" sz="800" dirty="0">
              <a:solidFill>
                <a:schemeClr val="bg2"/>
              </a:solidFill>
            </a:endParaRP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Sequ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ci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magnim</a:t>
            </a:r>
            <a:r>
              <a:rPr lang="fr-FR" sz="800" dirty="0">
                <a:solidFill>
                  <a:schemeClr val="bg2"/>
                </a:solidFill>
              </a:rPr>
              <a:t> qui </a:t>
            </a:r>
            <a:r>
              <a:rPr lang="fr-FR" sz="800" dirty="0" err="1">
                <a:solidFill>
                  <a:schemeClr val="bg2"/>
                </a:solidFill>
              </a:rPr>
              <a:t>au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erio</a:t>
            </a:r>
            <a:r>
              <a:rPr lang="fr-FR" sz="800" dirty="0">
                <a:solidFill>
                  <a:schemeClr val="bg2"/>
                </a:solidFill>
              </a:rPr>
              <a:t>. Am </a:t>
            </a:r>
            <a:r>
              <a:rPr lang="fr-FR" sz="800" dirty="0" err="1">
                <a:solidFill>
                  <a:schemeClr val="bg2"/>
                </a:solidFill>
              </a:rPr>
              <a:t>haribus</a:t>
            </a:r>
            <a:r>
              <a:rPr lang="fr-FR" sz="800" dirty="0">
                <a:solidFill>
                  <a:schemeClr val="bg2"/>
                </a:solidFill>
              </a:rPr>
              <a:t>, qui </a:t>
            </a:r>
            <a:r>
              <a:rPr lang="fr-FR" sz="800" dirty="0" err="1">
                <a:solidFill>
                  <a:schemeClr val="bg2"/>
                </a:solidFill>
              </a:rPr>
              <a:t>rept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autemo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tatur</a:t>
            </a:r>
            <a:r>
              <a:rPr lang="fr-FR" sz="800" dirty="0">
                <a:solidFill>
                  <a:schemeClr val="bg2"/>
                </a:solidFill>
              </a:rPr>
              <a:t>?</a:t>
            </a:r>
            <a:endParaRPr lang="fr-FR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B0380AC-ABC6-8DC8-2834-6DFD3504D522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r>
              <a:rPr lang="fr-FR" dirty="0"/>
              <a:t>Ceci est le titre d’un paragraph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8B2641-84A4-63BF-7863-A54BDBCDE0DD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pPr marL="172800" lvl="1" indent="-172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</a:pPr>
            <a:r>
              <a:rPr lang="fr-FR" sz="1000" dirty="0">
                <a:solidFill>
                  <a:schemeClr val="bg2"/>
                </a:solidFill>
                <a:latin typeface="+mj-lt"/>
              </a:rPr>
              <a:t>Nam,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mnia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issim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, u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und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bor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esersp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con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con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porerupta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u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nonecae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qu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acesequi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endam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fugiaspit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que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rempos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et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dolupta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volese</a:t>
            </a:r>
            <a:r>
              <a:rPr lang="fr-FR" sz="1000" dirty="0">
                <a:solidFill>
                  <a:schemeClr val="bg2"/>
                </a:solidFill>
                <a:latin typeface="+mj-lt"/>
              </a:rPr>
              <a:t> </a:t>
            </a:r>
            <a:r>
              <a:rPr lang="fr-FR" sz="1000" dirty="0" err="1">
                <a:solidFill>
                  <a:schemeClr val="bg2"/>
                </a:solidFill>
                <a:latin typeface="+mj-lt"/>
              </a:rPr>
              <a:t>occus</a:t>
            </a:r>
            <a:r>
              <a:rPr lang="fr-FR" sz="1000" b="1" dirty="0">
                <a:solidFill>
                  <a:schemeClr val="bg2"/>
                </a:solidFill>
              </a:rPr>
              <a:t>, </a:t>
            </a:r>
            <a:r>
              <a:rPr lang="fr-FR" sz="1000" dirty="0" err="1">
                <a:solidFill>
                  <a:schemeClr val="bg2"/>
                </a:solidFill>
              </a:rPr>
              <a:t>nobis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erruptae</a:t>
            </a:r>
            <a:r>
              <a:rPr lang="fr-FR" sz="1000" dirty="0">
                <a:solidFill>
                  <a:schemeClr val="bg2"/>
                </a:solidFill>
              </a:rPr>
              <a:t> </a:t>
            </a:r>
            <a:r>
              <a:rPr lang="fr-FR" sz="1000" dirty="0" err="1">
                <a:solidFill>
                  <a:schemeClr val="bg2"/>
                </a:solidFill>
              </a:rPr>
              <a:t>sed</a:t>
            </a:r>
            <a:r>
              <a:rPr lang="fr-FR" sz="1000" dirty="0">
                <a:solidFill>
                  <a:schemeClr val="bg2"/>
                </a:solidFill>
              </a:rPr>
              <a:t>?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Uscipsam</a:t>
            </a:r>
            <a:r>
              <a:rPr lang="fr-FR" sz="900" dirty="0">
                <a:solidFill>
                  <a:schemeClr val="bg2"/>
                </a:solidFill>
              </a:rPr>
              <a:t>, et il </a:t>
            </a:r>
            <a:r>
              <a:rPr lang="fr-FR" sz="900" dirty="0" err="1">
                <a:solidFill>
                  <a:schemeClr val="bg2"/>
                </a:solidFill>
              </a:rPr>
              <a:t>iliquam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uptae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dolorio</a:t>
            </a:r>
            <a:r>
              <a:rPr lang="fr-FR" sz="900" dirty="0">
                <a:solidFill>
                  <a:schemeClr val="bg2"/>
                </a:solidFill>
              </a:rPr>
              <a:t>.</a:t>
            </a:r>
          </a:p>
          <a:p>
            <a:pPr marL="345600" lvl="2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Montserrat ExtraLight" pitchFamily="2" charset="0"/>
              <a:buChar char="-"/>
            </a:pPr>
            <a:r>
              <a:rPr lang="fr-FR" sz="900" dirty="0" err="1">
                <a:solidFill>
                  <a:schemeClr val="bg2"/>
                </a:solidFill>
              </a:rPr>
              <a:t>Lorepellenda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ostenet</a:t>
            </a:r>
            <a:r>
              <a:rPr lang="fr-FR" sz="900" dirty="0">
                <a:solidFill>
                  <a:schemeClr val="bg2"/>
                </a:solidFill>
              </a:rPr>
              <a:t> as </a:t>
            </a:r>
            <a:r>
              <a:rPr lang="fr-FR" sz="900" dirty="0" err="1">
                <a:solidFill>
                  <a:schemeClr val="bg2"/>
                </a:solidFill>
              </a:rPr>
              <a:t>estinti</a:t>
            </a:r>
            <a:r>
              <a:rPr lang="fr-FR" sz="900" dirty="0">
                <a:solidFill>
                  <a:schemeClr val="bg2"/>
                </a:solidFill>
              </a:rPr>
              <a:t> </a:t>
            </a:r>
            <a:r>
              <a:rPr lang="fr-FR" sz="900" dirty="0" err="1">
                <a:solidFill>
                  <a:schemeClr val="bg2"/>
                </a:solidFill>
              </a:rPr>
              <a:t>nvellesequi</a:t>
            </a:r>
            <a:r>
              <a:rPr lang="fr-FR" sz="900" dirty="0">
                <a:solidFill>
                  <a:schemeClr val="bg2"/>
                </a:solidFill>
              </a:rPr>
              <a:t> as</a:t>
            </a: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Magni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li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hitemolec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ea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t</a:t>
            </a:r>
            <a:r>
              <a:rPr lang="fr-FR" sz="800" dirty="0">
                <a:solidFill>
                  <a:schemeClr val="bg2"/>
                </a:solidFill>
              </a:rPr>
              <a:t> que </a:t>
            </a:r>
            <a:r>
              <a:rPr lang="fr-FR" sz="800" dirty="0" err="1">
                <a:solidFill>
                  <a:schemeClr val="bg2"/>
                </a:solidFill>
              </a:rPr>
              <a:t>venturem</a:t>
            </a:r>
            <a:endParaRPr lang="fr-FR" sz="800" dirty="0">
              <a:solidFill>
                <a:schemeClr val="bg2"/>
              </a:solidFill>
            </a:endParaRPr>
          </a:p>
          <a:p>
            <a:pPr marL="518400" lvl="3" indent="-172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</a:pPr>
            <a:r>
              <a:rPr lang="fr-FR" sz="800" dirty="0" err="1">
                <a:solidFill>
                  <a:schemeClr val="bg2"/>
                </a:solidFill>
              </a:rPr>
              <a:t>Sequ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pici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magnim</a:t>
            </a:r>
            <a:r>
              <a:rPr lang="fr-FR" sz="800" dirty="0">
                <a:solidFill>
                  <a:schemeClr val="bg2"/>
                </a:solidFill>
              </a:rPr>
              <a:t> qui </a:t>
            </a:r>
            <a:r>
              <a:rPr lang="fr-FR" sz="800" dirty="0" err="1">
                <a:solidFill>
                  <a:schemeClr val="bg2"/>
                </a:solidFill>
              </a:rPr>
              <a:t>aut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perio</a:t>
            </a:r>
            <a:r>
              <a:rPr lang="fr-FR" sz="800" dirty="0">
                <a:solidFill>
                  <a:schemeClr val="bg2"/>
                </a:solidFill>
              </a:rPr>
              <a:t>. Am </a:t>
            </a:r>
            <a:r>
              <a:rPr lang="fr-FR" sz="800" dirty="0" err="1">
                <a:solidFill>
                  <a:schemeClr val="bg2"/>
                </a:solidFill>
              </a:rPr>
              <a:t>haribus</a:t>
            </a:r>
            <a:r>
              <a:rPr lang="fr-FR" sz="800" dirty="0">
                <a:solidFill>
                  <a:schemeClr val="bg2"/>
                </a:solidFill>
              </a:rPr>
              <a:t>, qui </a:t>
            </a:r>
            <a:r>
              <a:rPr lang="fr-FR" sz="800" dirty="0" err="1">
                <a:solidFill>
                  <a:schemeClr val="bg2"/>
                </a:solidFill>
              </a:rPr>
              <a:t>reptis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autemod</a:t>
            </a:r>
            <a:r>
              <a:rPr lang="fr-FR" sz="800" dirty="0">
                <a:solidFill>
                  <a:schemeClr val="bg2"/>
                </a:solidFill>
              </a:rPr>
              <a:t> </a:t>
            </a:r>
            <a:r>
              <a:rPr lang="fr-FR" sz="800" dirty="0" err="1">
                <a:solidFill>
                  <a:schemeClr val="bg2"/>
                </a:solidFill>
              </a:rPr>
              <a:t>itatur</a:t>
            </a:r>
            <a:r>
              <a:rPr lang="fr-FR" sz="800" dirty="0">
                <a:solidFill>
                  <a:schemeClr val="bg2"/>
                </a:solidFill>
              </a:rPr>
              <a:t>?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EC05F9-4799-B770-7185-88003C1EF958}"/>
              </a:ext>
            </a:extLst>
          </p:cNvPr>
          <p:cNvCxnSpPr>
            <a:cxnSpLocks/>
          </p:cNvCxnSpPr>
          <p:nvPr/>
        </p:nvCxnSpPr>
        <p:spPr>
          <a:xfrm>
            <a:off x="668492" y="7845211"/>
            <a:ext cx="622269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8906DCBE-8CCB-B2D7-E9E4-B27ECDDD1B5C}"/>
              </a:ext>
            </a:extLst>
          </p:cNvPr>
          <p:cNvGrpSpPr/>
          <p:nvPr/>
        </p:nvGrpSpPr>
        <p:grpSpPr>
          <a:xfrm>
            <a:off x="463374" y="6365854"/>
            <a:ext cx="273376" cy="203291"/>
            <a:chOff x="463374" y="6731313"/>
            <a:chExt cx="273376" cy="203291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FF72156-DF9B-AD56-5AAD-BFCD2A269439}"/>
                </a:ext>
              </a:extLst>
            </p:cNvPr>
            <p:cNvSpPr/>
            <p:nvPr/>
          </p:nvSpPr>
          <p:spPr>
            <a:xfrm>
              <a:off x="623203" y="6731313"/>
              <a:ext cx="113547" cy="187867"/>
            </a:xfrm>
            <a:custGeom>
              <a:avLst/>
              <a:gdLst>
                <a:gd name="connsiteX0" fmla="*/ 55947 w 113547"/>
                <a:gd name="connsiteY0" fmla="*/ 1104 h 187867"/>
                <a:gd name="connsiteX1" fmla="*/ 61924 w 113547"/>
                <a:gd name="connsiteY1" fmla="*/ 1161 h 187867"/>
                <a:gd name="connsiteX2" fmla="*/ 70001 w 113547"/>
                <a:gd name="connsiteY2" fmla="*/ 9106 h 187867"/>
                <a:gd name="connsiteX3" fmla="*/ 83672 w 113547"/>
                <a:gd name="connsiteY3" fmla="*/ 22905 h 187867"/>
                <a:gd name="connsiteX4" fmla="*/ 84195 w 113547"/>
                <a:gd name="connsiteY4" fmla="*/ 28640 h 187867"/>
                <a:gd name="connsiteX5" fmla="*/ 68001 w 113547"/>
                <a:gd name="connsiteY5" fmla="*/ 75662 h 187867"/>
                <a:gd name="connsiteX6" fmla="*/ 110647 w 113547"/>
                <a:gd name="connsiteY6" fmla="*/ 95527 h 187867"/>
                <a:gd name="connsiteX7" fmla="*/ 113547 w 113547"/>
                <a:gd name="connsiteY7" fmla="*/ 100020 h 187867"/>
                <a:gd name="connsiteX8" fmla="*/ 103962 w 113547"/>
                <a:gd name="connsiteY8" fmla="*/ 101955 h 187867"/>
                <a:gd name="connsiteX9" fmla="*/ 103078 w 113547"/>
                <a:gd name="connsiteY9" fmla="*/ 100645 h 187867"/>
                <a:gd name="connsiteX10" fmla="*/ 64297 w 113547"/>
                <a:gd name="connsiteY10" fmla="*/ 84556 h 187867"/>
                <a:gd name="connsiteX11" fmla="*/ 60254 w 113547"/>
                <a:gd name="connsiteY11" fmla="*/ 82078 h 187867"/>
                <a:gd name="connsiteX12" fmla="*/ 74699 w 113547"/>
                <a:gd name="connsiteY12" fmla="*/ 26654 h 187867"/>
                <a:gd name="connsiteX13" fmla="*/ 63581 w 113547"/>
                <a:gd name="connsiteY13" fmla="*/ 15412 h 187867"/>
                <a:gd name="connsiteX14" fmla="*/ 58856 w 113547"/>
                <a:gd name="connsiteY14" fmla="*/ 10645 h 187867"/>
                <a:gd name="connsiteX15" fmla="*/ 9418 w 113547"/>
                <a:gd name="connsiteY15" fmla="*/ 139097 h 187867"/>
                <a:gd name="connsiteX16" fmla="*/ 9418 w 113547"/>
                <a:gd name="connsiteY16" fmla="*/ 139101 h 187867"/>
                <a:gd name="connsiteX17" fmla="*/ 26681 w 113547"/>
                <a:gd name="connsiteY17" fmla="*/ 178689 h 187867"/>
                <a:gd name="connsiteX18" fmla="*/ 28405 w 113547"/>
                <a:gd name="connsiteY18" fmla="*/ 179404 h 187867"/>
                <a:gd name="connsiteX19" fmla="*/ 26696 w 113547"/>
                <a:gd name="connsiteY19" fmla="*/ 187867 h 187867"/>
                <a:gd name="connsiteX20" fmla="*/ 20507 w 113547"/>
                <a:gd name="connsiteY20" fmla="*/ 185328 h 187867"/>
                <a:gd name="connsiteX21" fmla="*/ 444 w 113547"/>
                <a:gd name="connsiteY21" fmla="*/ 139751 h 187867"/>
                <a:gd name="connsiteX22" fmla="*/ 55947 w 113547"/>
                <a:gd name="connsiteY22" fmla="*/ 1104 h 187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3547" h="187867">
                  <a:moveTo>
                    <a:pt x="55947" y="1104"/>
                  </a:moveTo>
                  <a:cubicBezTo>
                    <a:pt x="57661" y="-390"/>
                    <a:pt x="60228" y="-364"/>
                    <a:pt x="61924" y="1161"/>
                  </a:cubicBezTo>
                  <a:cubicBezTo>
                    <a:pt x="64464" y="3464"/>
                    <a:pt x="66200" y="5230"/>
                    <a:pt x="70001" y="9106"/>
                  </a:cubicBezTo>
                  <a:cubicBezTo>
                    <a:pt x="72892" y="12046"/>
                    <a:pt x="77014" y="16248"/>
                    <a:pt x="83672" y="22905"/>
                  </a:cubicBezTo>
                  <a:cubicBezTo>
                    <a:pt x="85206" y="24439"/>
                    <a:pt x="85430" y="26851"/>
                    <a:pt x="84195" y="28640"/>
                  </a:cubicBezTo>
                  <a:cubicBezTo>
                    <a:pt x="67865" y="52344"/>
                    <a:pt x="67421" y="69391"/>
                    <a:pt x="68001" y="75662"/>
                  </a:cubicBezTo>
                  <a:cubicBezTo>
                    <a:pt x="84751" y="76627"/>
                    <a:pt x="99793" y="84074"/>
                    <a:pt x="110647" y="95527"/>
                  </a:cubicBezTo>
                  <a:lnTo>
                    <a:pt x="113547" y="100020"/>
                  </a:lnTo>
                  <a:lnTo>
                    <a:pt x="103962" y="101955"/>
                  </a:lnTo>
                  <a:lnTo>
                    <a:pt x="103078" y="100645"/>
                  </a:lnTo>
                  <a:cubicBezTo>
                    <a:pt x="93143" y="90710"/>
                    <a:pt x="79425" y="84556"/>
                    <a:pt x="64297" y="84556"/>
                  </a:cubicBezTo>
                  <a:cubicBezTo>
                    <a:pt x="62627" y="84556"/>
                    <a:pt x="61032" y="83559"/>
                    <a:pt x="60254" y="82078"/>
                  </a:cubicBezTo>
                  <a:cubicBezTo>
                    <a:pt x="58615" y="78957"/>
                    <a:pt x="54875" y="57196"/>
                    <a:pt x="74699" y="26654"/>
                  </a:cubicBezTo>
                  <a:cubicBezTo>
                    <a:pt x="69513" y="21450"/>
                    <a:pt x="66085" y="17961"/>
                    <a:pt x="63581" y="15412"/>
                  </a:cubicBezTo>
                  <a:cubicBezTo>
                    <a:pt x="61502" y="13294"/>
                    <a:pt x="60091" y="11862"/>
                    <a:pt x="58856" y="10645"/>
                  </a:cubicBezTo>
                  <a:cubicBezTo>
                    <a:pt x="46191" y="22773"/>
                    <a:pt x="4272" y="68578"/>
                    <a:pt x="9418" y="139097"/>
                  </a:cubicBezTo>
                  <a:cubicBezTo>
                    <a:pt x="9418" y="139101"/>
                    <a:pt x="9418" y="139101"/>
                    <a:pt x="9418" y="139101"/>
                  </a:cubicBezTo>
                  <a:cubicBezTo>
                    <a:pt x="10585" y="155091"/>
                    <a:pt x="16937" y="168889"/>
                    <a:pt x="26681" y="178689"/>
                  </a:cubicBezTo>
                  <a:lnTo>
                    <a:pt x="28405" y="179404"/>
                  </a:lnTo>
                  <a:lnTo>
                    <a:pt x="26696" y="187867"/>
                  </a:lnTo>
                  <a:lnTo>
                    <a:pt x="20507" y="185328"/>
                  </a:lnTo>
                  <a:cubicBezTo>
                    <a:pt x="9169" y="174046"/>
                    <a:pt x="1785" y="158160"/>
                    <a:pt x="444" y="139751"/>
                  </a:cubicBezTo>
                  <a:cubicBezTo>
                    <a:pt x="-4131" y="77050"/>
                    <a:pt x="27484" y="25872"/>
                    <a:pt x="55947" y="1104"/>
                  </a:cubicBezTo>
                  <a:close/>
                </a:path>
              </a:pathLst>
            </a:custGeom>
            <a:solidFill>
              <a:schemeClr val="accent1"/>
            </a:solidFill>
            <a:ln w="4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81D537C-A4F6-9322-89E5-B0FE634B36C4}"/>
                </a:ext>
              </a:extLst>
            </p:cNvPr>
            <p:cNvSpPr/>
            <p:nvPr/>
          </p:nvSpPr>
          <p:spPr>
            <a:xfrm>
              <a:off x="463374" y="6731314"/>
              <a:ext cx="128178" cy="203290"/>
            </a:xfrm>
            <a:custGeom>
              <a:avLst/>
              <a:gdLst>
                <a:gd name="connsiteX0" fmla="*/ 68009 w 128178"/>
                <a:gd name="connsiteY0" fmla="*/ 75660 h 203290"/>
                <a:gd name="connsiteX1" fmla="*/ 84202 w 128178"/>
                <a:gd name="connsiteY1" fmla="*/ 28639 h 203290"/>
                <a:gd name="connsiteX2" fmla="*/ 83680 w 128178"/>
                <a:gd name="connsiteY2" fmla="*/ 22904 h 203290"/>
                <a:gd name="connsiteX3" fmla="*/ 70030 w 128178"/>
                <a:gd name="connsiteY3" fmla="*/ 9123 h 203290"/>
                <a:gd name="connsiteX4" fmla="*/ 61936 w 128178"/>
                <a:gd name="connsiteY4" fmla="*/ 1160 h 203290"/>
                <a:gd name="connsiteX5" fmla="*/ 55959 w 128178"/>
                <a:gd name="connsiteY5" fmla="*/ 1098 h 203290"/>
                <a:gd name="connsiteX6" fmla="*/ 442 w 128178"/>
                <a:gd name="connsiteY6" fmla="*/ 139750 h 203290"/>
                <a:gd name="connsiteX7" fmla="*/ 442 w 128178"/>
                <a:gd name="connsiteY7" fmla="*/ 139755 h 203290"/>
                <a:gd name="connsiteX8" fmla="*/ 64308 w 128178"/>
                <a:gd name="connsiteY8" fmla="*/ 203291 h 203290"/>
                <a:gd name="connsiteX9" fmla="*/ 128179 w 128178"/>
                <a:gd name="connsiteY9" fmla="*/ 139425 h 203290"/>
                <a:gd name="connsiteX10" fmla="*/ 68009 w 128178"/>
                <a:gd name="connsiteY10" fmla="*/ 75660 h 203290"/>
                <a:gd name="connsiteX11" fmla="*/ 64308 w 128178"/>
                <a:gd name="connsiteY11" fmla="*/ 194291 h 203290"/>
                <a:gd name="connsiteX12" fmla="*/ 9416 w 128178"/>
                <a:gd name="connsiteY12" fmla="*/ 139096 h 203290"/>
                <a:gd name="connsiteX13" fmla="*/ 9416 w 128178"/>
                <a:gd name="connsiteY13" fmla="*/ 139100 h 203290"/>
                <a:gd name="connsiteX14" fmla="*/ 58868 w 128178"/>
                <a:gd name="connsiteY14" fmla="*/ 10643 h 203290"/>
                <a:gd name="connsiteX15" fmla="*/ 63606 w 128178"/>
                <a:gd name="connsiteY15" fmla="*/ 15425 h 203290"/>
                <a:gd name="connsiteX16" fmla="*/ 74706 w 128178"/>
                <a:gd name="connsiteY16" fmla="*/ 26653 h 203290"/>
                <a:gd name="connsiteX17" fmla="*/ 60261 w 128178"/>
                <a:gd name="connsiteY17" fmla="*/ 82072 h 203290"/>
                <a:gd name="connsiteX18" fmla="*/ 64308 w 128178"/>
                <a:gd name="connsiteY18" fmla="*/ 84555 h 203290"/>
                <a:gd name="connsiteX19" fmla="*/ 119179 w 128178"/>
                <a:gd name="connsiteY19" fmla="*/ 139425 h 203290"/>
                <a:gd name="connsiteX20" fmla="*/ 64308 w 128178"/>
                <a:gd name="connsiteY20" fmla="*/ 194291 h 203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8178" h="203290">
                  <a:moveTo>
                    <a:pt x="68009" y="75660"/>
                  </a:moveTo>
                  <a:cubicBezTo>
                    <a:pt x="67424" y="69407"/>
                    <a:pt x="67855" y="52374"/>
                    <a:pt x="84202" y="28639"/>
                  </a:cubicBezTo>
                  <a:cubicBezTo>
                    <a:pt x="85433" y="26850"/>
                    <a:pt x="85213" y="24438"/>
                    <a:pt x="83680" y="22904"/>
                  </a:cubicBezTo>
                  <a:cubicBezTo>
                    <a:pt x="77035" y="16259"/>
                    <a:pt x="72917" y="12063"/>
                    <a:pt x="70030" y="9123"/>
                  </a:cubicBezTo>
                  <a:cubicBezTo>
                    <a:pt x="66216" y="5238"/>
                    <a:pt x="64475" y="3467"/>
                    <a:pt x="61936" y="1160"/>
                  </a:cubicBezTo>
                  <a:cubicBezTo>
                    <a:pt x="60239" y="-365"/>
                    <a:pt x="57673" y="-387"/>
                    <a:pt x="55959" y="1098"/>
                  </a:cubicBezTo>
                  <a:cubicBezTo>
                    <a:pt x="27496" y="25866"/>
                    <a:pt x="-4123" y="77036"/>
                    <a:pt x="442" y="139750"/>
                  </a:cubicBezTo>
                  <a:lnTo>
                    <a:pt x="442" y="139755"/>
                  </a:lnTo>
                  <a:cubicBezTo>
                    <a:pt x="3132" y="176567"/>
                    <a:pt x="29991" y="203291"/>
                    <a:pt x="64308" y="203291"/>
                  </a:cubicBezTo>
                  <a:cubicBezTo>
                    <a:pt x="99526" y="203291"/>
                    <a:pt x="128179" y="174643"/>
                    <a:pt x="128179" y="139425"/>
                  </a:cubicBezTo>
                  <a:cubicBezTo>
                    <a:pt x="128179" y="105447"/>
                    <a:pt x="101513" y="77581"/>
                    <a:pt x="68009" y="75660"/>
                  </a:cubicBezTo>
                  <a:close/>
                  <a:moveTo>
                    <a:pt x="64308" y="194291"/>
                  </a:moveTo>
                  <a:cubicBezTo>
                    <a:pt x="34843" y="194291"/>
                    <a:pt x="11754" y="171079"/>
                    <a:pt x="9416" y="139096"/>
                  </a:cubicBezTo>
                  <a:lnTo>
                    <a:pt x="9416" y="139100"/>
                  </a:lnTo>
                  <a:cubicBezTo>
                    <a:pt x="4284" y="68563"/>
                    <a:pt x="46203" y="22768"/>
                    <a:pt x="58868" y="10643"/>
                  </a:cubicBezTo>
                  <a:cubicBezTo>
                    <a:pt x="60107" y="11861"/>
                    <a:pt x="61522" y="13302"/>
                    <a:pt x="63606" y="15425"/>
                  </a:cubicBezTo>
                  <a:cubicBezTo>
                    <a:pt x="66106" y="17974"/>
                    <a:pt x="69529" y="21458"/>
                    <a:pt x="74706" y="26653"/>
                  </a:cubicBezTo>
                  <a:cubicBezTo>
                    <a:pt x="54882" y="57199"/>
                    <a:pt x="58622" y="78956"/>
                    <a:pt x="60261" y="82072"/>
                  </a:cubicBezTo>
                  <a:cubicBezTo>
                    <a:pt x="61039" y="83553"/>
                    <a:pt x="62638" y="84555"/>
                    <a:pt x="64308" y="84555"/>
                  </a:cubicBezTo>
                  <a:cubicBezTo>
                    <a:pt x="94565" y="84555"/>
                    <a:pt x="119179" y="109169"/>
                    <a:pt x="119179" y="139425"/>
                  </a:cubicBezTo>
                  <a:cubicBezTo>
                    <a:pt x="119179" y="169677"/>
                    <a:pt x="94565" y="194291"/>
                    <a:pt x="64308" y="194291"/>
                  </a:cubicBezTo>
                  <a:close/>
                </a:path>
              </a:pathLst>
            </a:custGeom>
            <a:solidFill>
              <a:schemeClr val="accent1"/>
            </a:solidFill>
            <a:ln w="4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</p:grp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66829FDC-4562-ACD4-15E9-46840A6A630F}"/>
              </a:ext>
            </a:extLst>
          </p:cNvPr>
          <p:cNvSpPr txBox="1">
            <a:spLocks/>
          </p:cNvSpPr>
          <p:nvPr/>
        </p:nvSpPr>
        <p:spPr>
          <a:xfrm>
            <a:off x="668492" y="6453214"/>
            <a:ext cx="6222690" cy="101566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050" dirty="0" err="1">
                <a:solidFill>
                  <a:schemeClr val="bg2"/>
                </a:solidFill>
              </a:rPr>
              <a:t>Cus</a:t>
            </a:r>
            <a:r>
              <a:rPr lang="fr-FR" sz="1050" dirty="0">
                <a:solidFill>
                  <a:schemeClr val="bg2"/>
                </a:solidFill>
              </a:rPr>
              <a:t> ut </a:t>
            </a:r>
            <a:r>
              <a:rPr lang="fr-FR" sz="1050" dirty="0" err="1">
                <a:solidFill>
                  <a:schemeClr val="bg2"/>
                </a:solidFill>
              </a:rPr>
              <a:t>asit</a:t>
            </a:r>
            <a:r>
              <a:rPr lang="fr-FR" sz="1050" dirty="0">
                <a:solidFill>
                  <a:schemeClr val="bg2"/>
                </a:solidFill>
              </a:rPr>
              <a:t> la </a:t>
            </a:r>
            <a:r>
              <a:rPr lang="fr-FR" sz="1050" dirty="0" err="1">
                <a:solidFill>
                  <a:schemeClr val="bg2"/>
                </a:solidFill>
              </a:rPr>
              <a:t>velit</a:t>
            </a:r>
            <a:r>
              <a:rPr lang="fr-FR" sz="1050" dirty="0">
                <a:solidFill>
                  <a:schemeClr val="bg2"/>
                </a:solidFill>
              </a:rPr>
              <a:t> et </a:t>
            </a:r>
            <a:r>
              <a:rPr lang="fr-FR" sz="1050" dirty="0" err="1">
                <a:solidFill>
                  <a:schemeClr val="bg2"/>
                </a:solidFill>
              </a:rPr>
              <a:t>ali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utassundam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solendu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ciuntior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ratia</a:t>
            </a:r>
            <a:r>
              <a:rPr lang="fr-FR" sz="1050" dirty="0">
                <a:solidFill>
                  <a:schemeClr val="bg2"/>
                </a:solidFill>
              </a:rPr>
              <a:t> ad </a:t>
            </a:r>
            <a:r>
              <a:rPr lang="fr-FR" sz="1050" dirty="0" err="1">
                <a:solidFill>
                  <a:schemeClr val="bg2"/>
                </a:solidFill>
              </a:rPr>
              <a:t>esequam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oluptatium</a:t>
            </a:r>
            <a:r>
              <a:rPr lang="fr-FR" sz="1050" dirty="0">
                <a:solidFill>
                  <a:schemeClr val="bg2"/>
                </a:solidFill>
              </a:rPr>
              <a:t> volo </a:t>
            </a:r>
            <a:r>
              <a:rPr lang="fr-FR" sz="1050" dirty="0" err="1">
                <a:solidFill>
                  <a:schemeClr val="bg2"/>
                </a:solidFill>
              </a:rPr>
              <a:t>opti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occa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olupta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tibus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omnie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endistor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m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quam</a:t>
            </a:r>
            <a:r>
              <a:rPr lang="fr-FR" sz="1050" dirty="0">
                <a:solidFill>
                  <a:schemeClr val="bg2"/>
                </a:solidFill>
              </a:rPr>
              <a:t>, ut et que </a:t>
            </a:r>
            <a:r>
              <a:rPr lang="fr-FR" sz="1050" dirty="0" err="1">
                <a:solidFill>
                  <a:schemeClr val="bg2"/>
                </a:solidFill>
              </a:rPr>
              <a:t>sae</a:t>
            </a:r>
            <a:r>
              <a:rPr lang="fr-FR" sz="1050" dirty="0">
                <a:solidFill>
                  <a:schemeClr val="bg2"/>
                </a:solidFill>
              </a:rPr>
              <a:t>. </a:t>
            </a:r>
            <a:r>
              <a:rPr lang="fr-FR" sz="1050" dirty="0" err="1">
                <a:solidFill>
                  <a:schemeClr val="bg2"/>
                </a:solidFill>
              </a:rPr>
              <a:t>Itae</a:t>
            </a:r>
            <a:r>
              <a:rPr lang="fr-FR" sz="1050" dirty="0">
                <a:solidFill>
                  <a:schemeClr val="bg2"/>
                </a:solidFill>
              </a:rPr>
              <a:t> non </a:t>
            </a:r>
            <a:r>
              <a:rPr lang="fr-FR" sz="1050" dirty="0" err="1">
                <a:solidFill>
                  <a:schemeClr val="bg2"/>
                </a:solidFill>
              </a:rPr>
              <a:t>cor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nonsed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moditi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omni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dollest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qua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pratem</a:t>
            </a:r>
            <a:r>
              <a:rPr lang="fr-FR" sz="1050" dirty="0">
                <a:solidFill>
                  <a:schemeClr val="bg2"/>
                </a:solidFill>
              </a:rPr>
              <a:t>. </a:t>
            </a:r>
            <a:r>
              <a:rPr lang="fr-FR" sz="1050" dirty="0" err="1">
                <a:solidFill>
                  <a:schemeClr val="bg2"/>
                </a:solidFill>
              </a:rPr>
              <a:t>Uciure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fuga</a:t>
            </a:r>
            <a:r>
              <a:rPr lang="fr-FR" sz="1050" dirty="0">
                <a:solidFill>
                  <a:schemeClr val="bg2"/>
                </a:solidFill>
              </a:rPr>
              <a:t>. </a:t>
            </a:r>
            <a:r>
              <a:rPr lang="fr-FR" sz="1050" dirty="0" err="1">
                <a:solidFill>
                  <a:schemeClr val="bg2"/>
                </a:solidFill>
              </a:rPr>
              <a:t>Itatur</a:t>
            </a:r>
            <a:r>
              <a:rPr lang="fr-FR" sz="1050" dirty="0">
                <a:solidFill>
                  <a:schemeClr val="bg2"/>
                </a:solidFill>
              </a:rPr>
              <a:t> a dit </a:t>
            </a:r>
            <a:r>
              <a:rPr lang="fr-FR" sz="1050" dirty="0" err="1">
                <a:solidFill>
                  <a:schemeClr val="bg2"/>
                </a:solidFill>
              </a:rPr>
              <a:t>remporror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intion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equodi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tio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ni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dita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etu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sequi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comni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endia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comni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paru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litia</a:t>
            </a:r>
            <a:r>
              <a:rPr lang="fr-FR" sz="1050" dirty="0">
                <a:solidFill>
                  <a:schemeClr val="bg2"/>
                </a:solidFill>
              </a:rPr>
              <a:t> est </a:t>
            </a:r>
            <a:r>
              <a:rPr lang="fr-FR" sz="1050" dirty="0" err="1">
                <a:solidFill>
                  <a:schemeClr val="bg2"/>
                </a:solidFill>
              </a:rPr>
              <a:t>elenihilita</a:t>
            </a:r>
            <a:r>
              <a:rPr lang="fr-FR" sz="1050" dirty="0">
                <a:solidFill>
                  <a:schemeClr val="bg2"/>
                </a:solidFill>
              </a:rPr>
              <a:t> nus </a:t>
            </a:r>
            <a:r>
              <a:rPr lang="fr-FR" sz="1050" dirty="0" err="1">
                <a:solidFill>
                  <a:schemeClr val="bg2"/>
                </a:solidFill>
              </a:rPr>
              <a:t>eaqui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dolecu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rehendellori</a:t>
            </a:r>
            <a:r>
              <a:rPr lang="fr-FR" sz="1050" dirty="0">
                <a:solidFill>
                  <a:schemeClr val="bg2"/>
                </a:solidFill>
              </a:rPr>
              <a:t> simus </a:t>
            </a:r>
            <a:r>
              <a:rPr lang="fr-FR" sz="1050" dirty="0" err="1">
                <a:solidFill>
                  <a:schemeClr val="bg2"/>
                </a:solidFill>
              </a:rPr>
              <a:t>acius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ommolu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illupta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ollup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tecto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olestia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nonse</a:t>
            </a:r>
            <a:r>
              <a:rPr lang="fr-FR" sz="1050" dirty="0">
                <a:solidFill>
                  <a:schemeClr val="bg2"/>
                </a:solidFill>
              </a:rPr>
              <a:t> es </a:t>
            </a:r>
            <a:r>
              <a:rPr lang="fr-FR" sz="1050" dirty="0" err="1">
                <a:solidFill>
                  <a:schemeClr val="bg2"/>
                </a:solidFill>
              </a:rPr>
              <a:t>si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sperov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idiatiur</a:t>
            </a:r>
            <a:r>
              <a:rPr lang="fr-FR" sz="1050" dirty="0">
                <a:solidFill>
                  <a:schemeClr val="bg2"/>
                </a:solidFill>
              </a:rPr>
              <a:t>?</a:t>
            </a:r>
          </a:p>
        </p:txBody>
      </p: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0EDB86C9-F6BB-1186-6402-CF43A3D1743D}"/>
              </a:ext>
            </a:extLst>
          </p:cNvPr>
          <p:cNvSpPr txBox="1">
            <a:spLocks/>
          </p:cNvSpPr>
          <p:nvPr/>
        </p:nvSpPr>
        <p:spPr>
          <a:xfrm>
            <a:off x="668492" y="7468877"/>
            <a:ext cx="6222690" cy="13849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900" dirty="0">
                <a:solidFill>
                  <a:schemeClr val="accent1"/>
                </a:solidFill>
                <a:latin typeface="+mj-lt"/>
              </a:rPr>
              <a:t>Recruteur spécialisé dans les métiers de la comptabilité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BFABC58-C573-79B9-A5CD-228B78D24233}"/>
              </a:ext>
            </a:extLst>
          </p:cNvPr>
          <p:cNvGrpSpPr/>
          <p:nvPr/>
        </p:nvGrpSpPr>
        <p:grpSpPr>
          <a:xfrm>
            <a:off x="463374" y="8083046"/>
            <a:ext cx="273376" cy="203291"/>
            <a:chOff x="463374" y="6848267"/>
            <a:chExt cx="273376" cy="203291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B14100F-C788-9B3C-7A2A-7976B761C6E6}"/>
                </a:ext>
              </a:extLst>
            </p:cNvPr>
            <p:cNvSpPr/>
            <p:nvPr/>
          </p:nvSpPr>
          <p:spPr>
            <a:xfrm>
              <a:off x="623203" y="6848267"/>
              <a:ext cx="113547" cy="187867"/>
            </a:xfrm>
            <a:custGeom>
              <a:avLst/>
              <a:gdLst>
                <a:gd name="connsiteX0" fmla="*/ 55947 w 113547"/>
                <a:gd name="connsiteY0" fmla="*/ 1104 h 187867"/>
                <a:gd name="connsiteX1" fmla="*/ 61924 w 113547"/>
                <a:gd name="connsiteY1" fmla="*/ 1161 h 187867"/>
                <a:gd name="connsiteX2" fmla="*/ 70001 w 113547"/>
                <a:gd name="connsiteY2" fmla="*/ 9106 h 187867"/>
                <a:gd name="connsiteX3" fmla="*/ 83672 w 113547"/>
                <a:gd name="connsiteY3" fmla="*/ 22905 h 187867"/>
                <a:gd name="connsiteX4" fmla="*/ 84195 w 113547"/>
                <a:gd name="connsiteY4" fmla="*/ 28640 h 187867"/>
                <a:gd name="connsiteX5" fmla="*/ 68001 w 113547"/>
                <a:gd name="connsiteY5" fmla="*/ 75662 h 187867"/>
                <a:gd name="connsiteX6" fmla="*/ 110647 w 113547"/>
                <a:gd name="connsiteY6" fmla="*/ 95527 h 187867"/>
                <a:gd name="connsiteX7" fmla="*/ 113547 w 113547"/>
                <a:gd name="connsiteY7" fmla="*/ 100020 h 187867"/>
                <a:gd name="connsiteX8" fmla="*/ 103962 w 113547"/>
                <a:gd name="connsiteY8" fmla="*/ 101955 h 187867"/>
                <a:gd name="connsiteX9" fmla="*/ 103078 w 113547"/>
                <a:gd name="connsiteY9" fmla="*/ 100645 h 187867"/>
                <a:gd name="connsiteX10" fmla="*/ 64297 w 113547"/>
                <a:gd name="connsiteY10" fmla="*/ 84556 h 187867"/>
                <a:gd name="connsiteX11" fmla="*/ 60254 w 113547"/>
                <a:gd name="connsiteY11" fmla="*/ 82078 h 187867"/>
                <a:gd name="connsiteX12" fmla="*/ 74699 w 113547"/>
                <a:gd name="connsiteY12" fmla="*/ 26654 h 187867"/>
                <a:gd name="connsiteX13" fmla="*/ 63581 w 113547"/>
                <a:gd name="connsiteY13" fmla="*/ 15412 h 187867"/>
                <a:gd name="connsiteX14" fmla="*/ 58856 w 113547"/>
                <a:gd name="connsiteY14" fmla="*/ 10645 h 187867"/>
                <a:gd name="connsiteX15" fmla="*/ 9418 w 113547"/>
                <a:gd name="connsiteY15" fmla="*/ 139097 h 187867"/>
                <a:gd name="connsiteX16" fmla="*/ 9418 w 113547"/>
                <a:gd name="connsiteY16" fmla="*/ 139101 h 187867"/>
                <a:gd name="connsiteX17" fmla="*/ 26681 w 113547"/>
                <a:gd name="connsiteY17" fmla="*/ 178689 h 187867"/>
                <a:gd name="connsiteX18" fmla="*/ 28405 w 113547"/>
                <a:gd name="connsiteY18" fmla="*/ 179404 h 187867"/>
                <a:gd name="connsiteX19" fmla="*/ 26696 w 113547"/>
                <a:gd name="connsiteY19" fmla="*/ 187867 h 187867"/>
                <a:gd name="connsiteX20" fmla="*/ 20507 w 113547"/>
                <a:gd name="connsiteY20" fmla="*/ 185328 h 187867"/>
                <a:gd name="connsiteX21" fmla="*/ 444 w 113547"/>
                <a:gd name="connsiteY21" fmla="*/ 139751 h 187867"/>
                <a:gd name="connsiteX22" fmla="*/ 55947 w 113547"/>
                <a:gd name="connsiteY22" fmla="*/ 1104 h 187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3547" h="187867">
                  <a:moveTo>
                    <a:pt x="55947" y="1104"/>
                  </a:moveTo>
                  <a:cubicBezTo>
                    <a:pt x="57661" y="-390"/>
                    <a:pt x="60228" y="-364"/>
                    <a:pt x="61924" y="1161"/>
                  </a:cubicBezTo>
                  <a:cubicBezTo>
                    <a:pt x="64464" y="3464"/>
                    <a:pt x="66200" y="5230"/>
                    <a:pt x="70001" y="9106"/>
                  </a:cubicBezTo>
                  <a:cubicBezTo>
                    <a:pt x="72892" y="12046"/>
                    <a:pt x="77014" y="16248"/>
                    <a:pt x="83672" y="22905"/>
                  </a:cubicBezTo>
                  <a:cubicBezTo>
                    <a:pt x="85206" y="24439"/>
                    <a:pt x="85430" y="26851"/>
                    <a:pt x="84195" y="28640"/>
                  </a:cubicBezTo>
                  <a:cubicBezTo>
                    <a:pt x="67865" y="52344"/>
                    <a:pt x="67421" y="69391"/>
                    <a:pt x="68001" y="75662"/>
                  </a:cubicBezTo>
                  <a:cubicBezTo>
                    <a:pt x="84751" y="76627"/>
                    <a:pt x="99793" y="84074"/>
                    <a:pt x="110647" y="95527"/>
                  </a:cubicBezTo>
                  <a:lnTo>
                    <a:pt x="113547" y="100020"/>
                  </a:lnTo>
                  <a:lnTo>
                    <a:pt x="103962" y="101955"/>
                  </a:lnTo>
                  <a:lnTo>
                    <a:pt x="103078" y="100645"/>
                  </a:lnTo>
                  <a:cubicBezTo>
                    <a:pt x="93143" y="90710"/>
                    <a:pt x="79425" y="84556"/>
                    <a:pt x="64297" y="84556"/>
                  </a:cubicBezTo>
                  <a:cubicBezTo>
                    <a:pt x="62627" y="84556"/>
                    <a:pt x="61032" y="83559"/>
                    <a:pt x="60254" y="82078"/>
                  </a:cubicBezTo>
                  <a:cubicBezTo>
                    <a:pt x="58615" y="78957"/>
                    <a:pt x="54875" y="57196"/>
                    <a:pt x="74699" y="26654"/>
                  </a:cubicBezTo>
                  <a:cubicBezTo>
                    <a:pt x="69513" y="21450"/>
                    <a:pt x="66085" y="17961"/>
                    <a:pt x="63581" y="15412"/>
                  </a:cubicBezTo>
                  <a:cubicBezTo>
                    <a:pt x="61502" y="13294"/>
                    <a:pt x="60091" y="11862"/>
                    <a:pt x="58856" y="10645"/>
                  </a:cubicBezTo>
                  <a:cubicBezTo>
                    <a:pt x="46191" y="22773"/>
                    <a:pt x="4272" y="68578"/>
                    <a:pt x="9418" y="139097"/>
                  </a:cubicBezTo>
                  <a:cubicBezTo>
                    <a:pt x="9418" y="139101"/>
                    <a:pt x="9418" y="139101"/>
                    <a:pt x="9418" y="139101"/>
                  </a:cubicBezTo>
                  <a:cubicBezTo>
                    <a:pt x="10585" y="155091"/>
                    <a:pt x="16937" y="168889"/>
                    <a:pt x="26681" y="178689"/>
                  </a:cubicBezTo>
                  <a:lnTo>
                    <a:pt x="28405" y="179404"/>
                  </a:lnTo>
                  <a:lnTo>
                    <a:pt x="26696" y="187867"/>
                  </a:lnTo>
                  <a:lnTo>
                    <a:pt x="20507" y="185328"/>
                  </a:lnTo>
                  <a:cubicBezTo>
                    <a:pt x="9169" y="174046"/>
                    <a:pt x="1785" y="158160"/>
                    <a:pt x="444" y="139751"/>
                  </a:cubicBezTo>
                  <a:cubicBezTo>
                    <a:pt x="-4131" y="77050"/>
                    <a:pt x="27484" y="25872"/>
                    <a:pt x="55947" y="1104"/>
                  </a:cubicBezTo>
                  <a:close/>
                </a:path>
              </a:pathLst>
            </a:custGeom>
            <a:solidFill>
              <a:schemeClr val="accent1"/>
            </a:solidFill>
            <a:ln w="4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210E0AF-A9C1-DE28-5788-66A32F35D0E0}"/>
                </a:ext>
              </a:extLst>
            </p:cNvPr>
            <p:cNvSpPr/>
            <p:nvPr/>
          </p:nvSpPr>
          <p:spPr>
            <a:xfrm>
              <a:off x="463374" y="6848268"/>
              <a:ext cx="128178" cy="203290"/>
            </a:xfrm>
            <a:custGeom>
              <a:avLst/>
              <a:gdLst>
                <a:gd name="connsiteX0" fmla="*/ 68009 w 128178"/>
                <a:gd name="connsiteY0" fmla="*/ 75660 h 203290"/>
                <a:gd name="connsiteX1" fmla="*/ 84202 w 128178"/>
                <a:gd name="connsiteY1" fmla="*/ 28639 h 203290"/>
                <a:gd name="connsiteX2" fmla="*/ 83680 w 128178"/>
                <a:gd name="connsiteY2" fmla="*/ 22904 h 203290"/>
                <a:gd name="connsiteX3" fmla="*/ 70030 w 128178"/>
                <a:gd name="connsiteY3" fmla="*/ 9123 h 203290"/>
                <a:gd name="connsiteX4" fmla="*/ 61936 w 128178"/>
                <a:gd name="connsiteY4" fmla="*/ 1160 h 203290"/>
                <a:gd name="connsiteX5" fmla="*/ 55959 w 128178"/>
                <a:gd name="connsiteY5" fmla="*/ 1098 h 203290"/>
                <a:gd name="connsiteX6" fmla="*/ 442 w 128178"/>
                <a:gd name="connsiteY6" fmla="*/ 139750 h 203290"/>
                <a:gd name="connsiteX7" fmla="*/ 442 w 128178"/>
                <a:gd name="connsiteY7" fmla="*/ 139755 h 203290"/>
                <a:gd name="connsiteX8" fmla="*/ 64308 w 128178"/>
                <a:gd name="connsiteY8" fmla="*/ 203291 h 203290"/>
                <a:gd name="connsiteX9" fmla="*/ 128179 w 128178"/>
                <a:gd name="connsiteY9" fmla="*/ 139425 h 203290"/>
                <a:gd name="connsiteX10" fmla="*/ 68009 w 128178"/>
                <a:gd name="connsiteY10" fmla="*/ 75660 h 203290"/>
                <a:gd name="connsiteX11" fmla="*/ 64308 w 128178"/>
                <a:gd name="connsiteY11" fmla="*/ 194291 h 203290"/>
                <a:gd name="connsiteX12" fmla="*/ 9416 w 128178"/>
                <a:gd name="connsiteY12" fmla="*/ 139096 h 203290"/>
                <a:gd name="connsiteX13" fmla="*/ 9416 w 128178"/>
                <a:gd name="connsiteY13" fmla="*/ 139100 h 203290"/>
                <a:gd name="connsiteX14" fmla="*/ 58868 w 128178"/>
                <a:gd name="connsiteY14" fmla="*/ 10643 h 203290"/>
                <a:gd name="connsiteX15" fmla="*/ 63606 w 128178"/>
                <a:gd name="connsiteY15" fmla="*/ 15425 h 203290"/>
                <a:gd name="connsiteX16" fmla="*/ 74706 w 128178"/>
                <a:gd name="connsiteY16" fmla="*/ 26653 h 203290"/>
                <a:gd name="connsiteX17" fmla="*/ 60261 w 128178"/>
                <a:gd name="connsiteY17" fmla="*/ 82072 h 203290"/>
                <a:gd name="connsiteX18" fmla="*/ 64308 w 128178"/>
                <a:gd name="connsiteY18" fmla="*/ 84555 h 203290"/>
                <a:gd name="connsiteX19" fmla="*/ 119179 w 128178"/>
                <a:gd name="connsiteY19" fmla="*/ 139425 h 203290"/>
                <a:gd name="connsiteX20" fmla="*/ 64308 w 128178"/>
                <a:gd name="connsiteY20" fmla="*/ 194291 h 203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8178" h="203290">
                  <a:moveTo>
                    <a:pt x="68009" y="75660"/>
                  </a:moveTo>
                  <a:cubicBezTo>
                    <a:pt x="67424" y="69407"/>
                    <a:pt x="67855" y="52374"/>
                    <a:pt x="84202" y="28639"/>
                  </a:cubicBezTo>
                  <a:cubicBezTo>
                    <a:pt x="85433" y="26850"/>
                    <a:pt x="85213" y="24438"/>
                    <a:pt x="83680" y="22904"/>
                  </a:cubicBezTo>
                  <a:cubicBezTo>
                    <a:pt x="77035" y="16259"/>
                    <a:pt x="72917" y="12063"/>
                    <a:pt x="70030" y="9123"/>
                  </a:cubicBezTo>
                  <a:cubicBezTo>
                    <a:pt x="66216" y="5238"/>
                    <a:pt x="64475" y="3467"/>
                    <a:pt x="61936" y="1160"/>
                  </a:cubicBezTo>
                  <a:cubicBezTo>
                    <a:pt x="60239" y="-365"/>
                    <a:pt x="57673" y="-387"/>
                    <a:pt x="55959" y="1098"/>
                  </a:cubicBezTo>
                  <a:cubicBezTo>
                    <a:pt x="27496" y="25866"/>
                    <a:pt x="-4123" y="77036"/>
                    <a:pt x="442" y="139750"/>
                  </a:cubicBezTo>
                  <a:lnTo>
                    <a:pt x="442" y="139755"/>
                  </a:lnTo>
                  <a:cubicBezTo>
                    <a:pt x="3132" y="176567"/>
                    <a:pt x="29991" y="203291"/>
                    <a:pt x="64308" y="203291"/>
                  </a:cubicBezTo>
                  <a:cubicBezTo>
                    <a:pt x="99526" y="203291"/>
                    <a:pt x="128179" y="174643"/>
                    <a:pt x="128179" y="139425"/>
                  </a:cubicBezTo>
                  <a:cubicBezTo>
                    <a:pt x="128179" y="105447"/>
                    <a:pt x="101513" y="77581"/>
                    <a:pt x="68009" y="75660"/>
                  </a:cubicBezTo>
                  <a:close/>
                  <a:moveTo>
                    <a:pt x="64308" y="194291"/>
                  </a:moveTo>
                  <a:cubicBezTo>
                    <a:pt x="34843" y="194291"/>
                    <a:pt x="11754" y="171079"/>
                    <a:pt x="9416" y="139096"/>
                  </a:cubicBezTo>
                  <a:lnTo>
                    <a:pt x="9416" y="139100"/>
                  </a:lnTo>
                  <a:cubicBezTo>
                    <a:pt x="4284" y="68563"/>
                    <a:pt x="46203" y="22768"/>
                    <a:pt x="58868" y="10643"/>
                  </a:cubicBezTo>
                  <a:cubicBezTo>
                    <a:pt x="60107" y="11861"/>
                    <a:pt x="61522" y="13302"/>
                    <a:pt x="63606" y="15425"/>
                  </a:cubicBezTo>
                  <a:cubicBezTo>
                    <a:pt x="66106" y="17974"/>
                    <a:pt x="69529" y="21458"/>
                    <a:pt x="74706" y="26653"/>
                  </a:cubicBezTo>
                  <a:cubicBezTo>
                    <a:pt x="54882" y="57199"/>
                    <a:pt x="58622" y="78956"/>
                    <a:pt x="60261" y="82072"/>
                  </a:cubicBezTo>
                  <a:cubicBezTo>
                    <a:pt x="61039" y="83553"/>
                    <a:pt x="62638" y="84555"/>
                    <a:pt x="64308" y="84555"/>
                  </a:cubicBezTo>
                  <a:cubicBezTo>
                    <a:pt x="94565" y="84555"/>
                    <a:pt x="119179" y="109169"/>
                    <a:pt x="119179" y="139425"/>
                  </a:cubicBezTo>
                  <a:cubicBezTo>
                    <a:pt x="119179" y="169677"/>
                    <a:pt x="94565" y="194291"/>
                    <a:pt x="64308" y="194291"/>
                  </a:cubicBezTo>
                  <a:close/>
                </a:path>
              </a:pathLst>
            </a:custGeom>
            <a:solidFill>
              <a:schemeClr val="accent1"/>
            </a:solidFill>
            <a:ln w="4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</p:grp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2327FD1E-C184-A632-8024-F236B86F209D}"/>
              </a:ext>
            </a:extLst>
          </p:cNvPr>
          <p:cNvSpPr txBox="1">
            <a:spLocks/>
          </p:cNvSpPr>
          <p:nvPr/>
        </p:nvSpPr>
        <p:spPr>
          <a:xfrm>
            <a:off x="668492" y="8170406"/>
            <a:ext cx="6222690" cy="101566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050" dirty="0" err="1">
                <a:solidFill>
                  <a:schemeClr val="bg2"/>
                </a:solidFill>
              </a:rPr>
              <a:t>Cus</a:t>
            </a:r>
            <a:r>
              <a:rPr lang="fr-FR" sz="1050" dirty="0">
                <a:solidFill>
                  <a:schemeClr val="bg2"/>
                </a:solidFill>
              </a:rPr>
              <a:t> ut </a:t>
            </a:r>
            <a:r>
              <a:rPr lang="fr-FR" sz="1050" dirty="0" err="1">
                <a:solidFill>
                  <a:schemeClr val="bg2"/>
                </a:solidFill>
              </a:rPr>
              <a:t>asit</a:t>
            </a:r>
            <a:r>
              <a:rPr lang="fr-FR" sz="1050" dirty="0">
                <a:solidFill>
                  <a:schemeClr val="bg2"/>
                </a:solidFill>
              </a:rPr>
              <a:t> la </a:t>
            </a:r>
            <a:r>
              <a:rPr lang="fr-FR" sz="1050" dirty="0" err="1">
                <a:solidFill>
                  <a:schemeClr val="bg2"/>
                </a:solidFill>
              </a:rPr>
              <a:t>velit</a:t>
            </a:r>
            <a:r>
              <a:rPr lang="fr-FR" sz="1050" dirty="0">
                <a:solidFill>
                  <a:schemeClr val="bg2"/>
                </a:solidFill>
              </a:rPr>
              <a:t> et </a:t>
            </a:r>
            <a:r>
              <a:rPr lang="fr-FR" sz="1050" dirty="0" err="1">
                <a:solidFill>
                  <a:schemeClr val="bg2"/>
                </a:solidFill>
              </a:rPr>
              <a:t>ali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utassundam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solendu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ciuntior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ratia</a:t>
            </a:r>
            <a:r>
              <a:rPr lang="fr-FR" sz="1050" dirty="0">
                <a:solidFill>
                  <a:schemeClr val="bg2"/>
                </a:solidFill>
              </a:rPr>
              <a:t> ad </a:t>
            </a:r>
            <a:r>
              <a:rPr lang="fr-FR" sz="1050" dirty="0" err="1">
                <a:solidFill>
                  <a:schemeClr val="bg2"/>
                </a:solidFill>
              </a:rPr>
              <a:t>esequam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oluptatium</a:t>
            </a:r>
            <a:r>
              <a:rPr lang="fr-FR" sz="1050" dirty="0">
                <a:solidFill>
                  <a:schemeClr val="bg2"/>
                </a:solidFill>
              </a:rPr>
              <a:t> volo </a:t>
            </a:r>
            <a:r>
              <a:rPr lang="fr-FR" sz="1050" dirty="0" err="1">
                <a:solidFill>
                  <a:schemeClr val="bg2"/>
                </a:solidFill>
              </a:rPr>
              <a:t>opti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occa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olupta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tibus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omnie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endistor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m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quam</a:t>
            </a:r>
            <a:r>
              <a:rPr lang="fr-FR" sz="1050" dirty="0">
                <a:solidFill>
                  <a:schemeClr val="bg2"/>
                </a:solidFill>
              </a:rPr>
              <a:t>, ut et que </a:t>
            </a:r>
            <a:r>
              <a:rPr lang="fr-FR" sz="1050" dirty="0" err="1">
                <a:solidFill>
                  <a:schemeClr val="bg2"/>
                </a:solidFill>
              </a:rPr>
              <a:t>sae</a:t>
            </a:r>
            <a:r>
              <a:rPr lang="fr-FR" sz="1050" dirty="0">
                <a:solidFill>
                  <a:schemeClr val="bg2"/>
                </a:solidFill>
              </a:rPr>
              <a:t>. </a:t>
            </a:r>
            <a:r>
              <a:rPr lang="fr-FR" sz="1050" dirty="0" err="1">
                <a:solidFill>
                  <a:schemeClr val="bg2"/>
                </a:solidFill>
              </a:rPr>
              <a:t>Itae</a:t>
            </a:r>
            <a:r>
              <a:rPr lang="fr-FR" sz="1050" dirty="0">
                <a:solidFill>
                  <a:schemeClr val="bg2"/>
                </a:solidFill>
              </a:rPr>
              <a:t> non </a:t>
            </a:r>
            <a:r>
              <a:rPr lang="fr-FR" sz="1050" dirty="0" err="1">
                <a:solidFill>
                  <a:schemeClr val="bg2"/>
                </a:solidFill>
              </a:rPr>
              <a:t>cor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nonsed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moditi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omni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dollest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qua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pratem</a:t>
            </a:r>
            <a:r>
              <a:rPr lang="fr-FR" sz="1050" dirty="0">
                <a:solidFill>
                  <a:schemeClr val="bg2"/>
                </a:solidFill>
              </a:rPr>
              <a:t>. </a:t>
            </a:r>
            <a:r>
              <a:rPr lang="fr-FR" sz="1050" dirty="0" err="1">
                <a:solidFill>
                  <a:schemeClr val="bg2"/>
                </a:solidFill>
              </a:rPr>
              <a:t>Uciure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fuga</a:t>
            </a:r>
            <a:r>
              <a:rPr lang="fr-FR" sz="1050" dirty="0">
                <a:solidFill>
                  <a:schemeClr val="bg2"/>
                </a:solidFill>
              </a:rPr>
              <a:t>. </a:t>
            </a:r>
            <a:r>
              <a:rPr lang="fr-FR" sz="1050" dirty="0" err="1">
                <a:solidFill>
                  <a:schemeClr val="bg2"/>
                </a:solidFill>
              </a:rPr>
              <a:t>Itatur</a:t>
            </a:r>
            <a:r>
              <a:rPr lang="fr-FR" sz="1050" dirty="0">
                <a:solidFill>
                  <a:schemeClr val="bg2"/>
                </a:solidFill>
              </a:rPr>
              <a:t> a dit </a:t>
            </a:r>
            <a:r>
              <a:rPr lang="fr-FR" sz="1050" dirty="0" err="1">
                <a:solidFill>
                  <a:schemeClr val="bg2"/>
                </a:solidFill>
              </a:rPr>
              <a:t>remporrore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intion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equodi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tio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ni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dita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etu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sequi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comni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endia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comni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parum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litia</a:t>
            </a:r>
            <a:r>
              <a:rPr lang="fr-FR" sz="1050" dirty="0">
                <a:solidFill>
                  <a:schemeClr val="bg2"/>
                </a:solidFill>
              </a:rPr>
              <a:t> est </a:t>
            </a:r>
            <a:r>
              <a:rPr lang="fr-FR" sz="1050" dirty="0" err="1">
                <a:solidFill>
                  <a:schemeClr val="bg2"/>
                </a:solidFill>
              </a:rPr>
              <a:t>elenihilita</a:t>
            </a:r>
            <a:r>
              <a:rPr lang="fr-FR" sz="1050" dirty="0">
                <a:solidFill>
                  <a:schemeClr val="bg2"/>
                </a:solidFill>
              </a:rPr>
              <a:t> nus </a:t>
            </a:r>
            <a:r>
              <a:rPr lang="fr-FR" sz="1050" dirty="0" err="1">
                <a:solidFill>
                  <a:schemeClr val="bg2"/>
                </a:solidFill>
              </a:rPr>
              <a:t>eaqui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dolecus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rehendellori</a:t>
            </a:r>
            <a:r>
              <a:rPr lang="fr-FR" sz="1050" dirty="0">
                <a:solidFill>
                  <a:schemeClr val="bg2"/>
                </a:solidFill>
              </a:rPr>
              <a:t> simus </a:t>
            </a:r>
            <a:r>
              <a:rPr lang="fr-FR" sz="1050" dirty="0" err="1">
                <a:solidFill>
                  <a:schemeClr val="bg2"/>
                </a:solidFill>
              </a:rPr>
              <a:t>acius</a:t>
            </a:r>
            <a:r>
              <a:rPr lang="fr-FR" sz="1050" dirty="0">
                <a:solidFill>
                  <a:schemeClr val="bg2"/>
                </a:solidFill>
              </a:rPr>
              <a:t>, </a:t>
            </a:r>
            <a:r>
              <a:rPr lang="fr-FR" sz="1050" dirty="0" err="1">
                <a:solidFill>
                  <a:schemeClr val="bg2"/>
                </a:solidFill>
              </a:rPr>
              <a:t>ommolu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illupta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ollup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tecto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volestia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nonse</a:t>
            </a:r>
            <a:r>
              <a:rPr lang="fr-FR" sz="1050" dirty="0">
                <a:solidFill>
                  <a:schemeClr val="bg2"/>
                </a:solidFill>
              </a:rPr>
              <a:t> es </a:t>
            </a:r>
            <a:r>
              <a:rPr lang="fr-FR" sz="1050" dirty="0" err="1">
                <a:solidFill>
                  <a:schemeClr val="bg2"/>
                </a:solidFill>
              </a:rPr>
              <a:t>sit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asperov</a:t>
            </a:r>
            <a:r>
              <a:rPr lang="fr-FR" sz="1050" dirty="0">
                <a:solidFill>
                  <a:schemeClr val="bg2"/>
                </a:solidFill>
              </a:rPr>
              <a:t> </a:t>
            </a:r>
            <a:r>
              <a:rPr lang="fr-FR" sz="1050" dirty="0" err="1">
                <a:solidFill>
                  <a:schemeClr val="bg2"/>
                </a:solidFill>
              </a:rPr>
              <a:t>idiatiur</a:t>
            </a:r>
            <a:r>
              <a:rPr lang="fr-FR" sz="1050" dirty="0">
                <a:solidFill>
                  <a:schemeClr val="bg2"/>
                </a:solidFill>
              </a:rPr>
              <a:t>?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09DBE6D3-3501-FBB5-94B9-AC7B99A2980A}"/>
              </a:ext>
            </a:extLst>
          </p:cNvPr>
          <p:cNvSpPr txBox="1">
            <a:spLocks/>
          </p:cNvSpPr>
          <p:nvPr/>
        </p:nvSpPr>
        <p:spPr>
          <a:xfrm>
            <a:off x="668492" y="9186069"/>
            <a:ext cx="6222690" cy="13849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88984" indent="-188984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23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900" dirty="0">
                <a:solidFill>
                  <a:schemeClr val="accent1"/>
                </a:solidFill>
                <a:latin typeface="+mj-lt"/>
              </a:rPr>
              <a:t>Atlas</a:t>
            </a:r>
          </a:p>
        </p:txBody>
      </p:sp>
    </p:spTree>
    <p:extLst>
      <p:ext uri="{BB962C8B-B14F-4D97-AF65-F5344CB8AC3E}">
        <p14:creationId xmlns:p14="http://schemas.microsoft.com/office/powerpoint/2010/main" val="15915390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uverture">
  <a:themeElements>
    <a:clrScheme name="Omeca_color">
      <a:dk1>
        <a:srgbClr val="797978"/>
      </a:dk1>
      <a:lt1>
        <a:srgbClr val="F1F4F6"/>
      </a:lt1>
      <a:dk2>
        <a:srgbClr val="254A96"/>
      </a:dk2>
      <a:lt2>
        <a:srgbClr val="3E3E3C"/>
      </a:lt2>
      <a:accent1>
        <a:srgbClr val="3CB5A1"/>
      </a:accent1>
      <a:accent2>
        <a:srgbClr val="214F6D"/>
      </a:accent2>
      <a:accent3>
        <a:srgbClr val="2699D6"/>
      </a:accent3>
      <a:accent4>
        <a:srgbClr val="18407E"/>
      </a:accent4>
      <a:accent5>
        <a:srgbClr val="F4519B"/>
      </a:accent5>
      <a:accent6>
        <a:srgbClr val="5F246B"/>
      </a:accent6>
      <a:hlink>
        <a:srgbClr val="FFFFFF"/>
      </a:hlink>
      <a:folHlink>
        <a:srgbClr val="FFFFFF"/>
      </a:folHlink>
    </a:clrScheme>
    <a:fontScheme name="Custom 4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b="1" dirty="0">
            <a:solidFill>
              <a:schemeClr val="bg2"/>
            </a:solidFill>
            <a:latin typeface="+mj-lt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>
        <a:noAutofit/>
      </a:bodyPr>
      <a:lstStyle>
        <a:defPPr algn="l">
          <a:defRPr dirty="0" smtClean="0"/>
        </a:defPPr>
      </a:lstStyle>
    </a:txDef>
  </a:objectDefaults>
  <a:extraClrSchemeLst/>
  <a:custClrLst>
    <a:custClr name="Custom Color 1">
      <a:srgbClr val="9E61A4"/>
    </a:custClr>
    <a:custClr name="Custom Color 2">
      <a:srgbClr val="642583"/>
    </a:custClr>
    <a:custClr name="Custom Color 3">
      <a:srgbClr val="EA516D"/>
    </a:custClr>
    <a:custClr name="Custom Color 4">
      <a:srgbClr val="C70E6B"/>
    </a:custClr>
    <a:custClr name="Custom Color 5">
      <a:srgbClr val="F07E26"/>
    </a:custClr>
    <a:custClr name="Custom Color 6">
      <a:srgbClr val="E6332A"/>
    </a:custClr>
    <a:custClr name="Custom Color 7">
      <a:srgbClr val="FDC41F"/>
    </a:custClr>
    <a:custClr name="Custom Color 8">
      <a:srgbClr val="DA8C0C"/>
    </a:custClr>
    <a:custClr name="Custom Color 9">
      <a:srgbClr val="94C356"/>
    </a:custClr>
    <a:custClr name="Custom Color 10">
      <a:srgbClr val="00A870"/>
    </a:custClr>
    <a:custClr name="Custom Color 11">
      <a:srgbClr val="5FC4E1"/>
    </a:custClr>
    <a:custClr name="Custom Color 12">
      <a:srgbClr val="5488C7"/>
    </a:custClr>
    <a:custClr name="Custom Color 13">
      <a:srgbClr val="FFFFFF"/>
    </a:custClr>
  </a:custClrLst>
  <a:extLst>
    <a:ext uri="{05A4C25C-085E-4340-85A3-A5531E510DB2}">
      <thm15:themeFamily xmlns:thm15="http://schemas.microsoft.com/office/thememl/2012/main" name="OMECA-LESESSENTIELS_Pokeslide_V0.2" id="{F0E4C06A-7EDE-40EB-94B6-1DEC2979D06E}" vid="{38E33C14-07EE-4321-A085-D5981EF24F14}"/>
    </a:ext>
  </a:extLst>
</a:theme>
</file>

<file path=ppt/theme/theme2.xml><?xml version="1.0" encoding="utf-8"?>
<a:theme xmlns:a="http://schemas.openxmlformats.org/drawingml/2006/main" name="Sommaire">
  <a:themeElements>
    <a:clrScheme name="Omeca_color">
      <a:dk1>
        <a:srgbClr val="797978"/>
      </a:dk1>
      <a:lt1>
        <a:srgbClr val="F1F4F6"/>
      </a:lt1>
      <a:dk2>
        <a:srgbClr val="254A96"/>
      </a:dk2>
      <a:lt2>
        <a:srgbClr val="3E3E3C"/>
      </a:lt2>
      <a:accent1>
        <a:srgbClr val="3CB5A1"/>
      </a:accent1>
      <a:accent2>
        <a:srgbClr val="214F6D"/>
      </a:accent2>
      <a:accent3>
        <a:srgbClr val="2699D6"/>
      </a:accent3>
      <a:accent4>
        <a:srgbClr val="18407E"/>
      </a:accent4>
      <a:accent5>
        <a:srgbClr val="F4519B"/>
      </a:accent5>
      <a:accent6>
        <a:srgbClr val="5F246B"/>
      </a:accent6>
      <a:hlink>
        <a:srgbClr val="FFFFFF"/>
      </a:hlink>
      <a:folHlink>
        <a:srgbClr val="FFFFFF"/>
      </a:folHlink>
    </a:clrScheme>
    <a:fontScheme name="Custom 4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b="1" dirty="0">
            <a:solidFill>
              <a:schemeClr val="bg2"/>
            </a:solidFill>
            <a:latin typeface="+mj-lt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>
        <a:noAutofit/>
      </a:bodyPr>
      <a:lstStyle>
        <a:defPPr algn="l">
          <a:defRPr dirty="0" smtClean="0"/>
        </a:defPPr>
      </a:lstStyle>
    </a:txDef>
  </a:objectDefaults>
  <a:extraClrSchemeLst/>
  <a:custClrLst>
    <a:custClr name="Custom Color 1">
      <a:srgbClr val="9E61A4"/>
    </a:custClr>
    <a:custClr name="Custom Color 2">
      <a:srgbClr val="642583"/>
    </a:custClr>
    <a:custClr name="Custom Color 3">
      <a:srgbClr val="EA516D"/>
    </a:custClr>
    <a:custClr name="Custom Color 4">
      <a:srgbClr val="C70E6B"/>
    </a:custClr>
    <a:custClr name="Custom Color 5">
      <a:srgbClr val="F07E26"/>
    </a:custClr>
    <a:custClr name="Custom Color 6">
      <a:srgbClr val="E6332A"/>
    </a:custClr>
    <a:custClr name="Custom Color 7">
      <a:srgbClr val="FDC41F"/>
    </a:custClr>
    <a:custClr name="Custom Color 8">
      <a:srgbClr val="DA8C0C"/>
    </a:custClr>
    <a:custClr name="Custom Color 9">
      <a:srgbClr val="94C356"/>
    </a:custClr>
    <a:custClr name="Custom Color 10">
      <a:srgbClr val="00A870"/>
    </a:custClr>
    <a:custClr name="Custom Color 11">
      <a:srgbClr val="5FC4E1"/>
    </a:custClr>
    <a:custClr name="Custom Color 12">
      <a:srgbClr val="5488C7"/>
    </a:custClr>
    <a:custClr name="Custom Color 13">
      <a:srgbClr val="FFFFFF"/>
    </a:custClr>
  </a:custClrLst>
  <a:extLst>
    <a:ext uri="{05A4C25C-085E-4340-85A3-A5531E510DB2}">
      <thm15:themeFamily xmlns:thm15="http://schemas.microsoft.com/office/thememl/2012/main" name="OMECA-LESESSENTIELS_Pokeslide_V0.2" id="{F0E4C06A-7EDE-40EB-94B6-1DEC2979D06E}" vid="{E29416B3-EF62-4BE9-AEF9-C07E270C0539}"/>
    </a:ext>
  </a:extLst>
</a:theme>
</file>

<file path=ppt/theme/theme3.xml><?xml version="1.0" encoding="utf-8"?>
<a:theme xmlns:a="http://schemas.openxmlformats.org/drawingml/2006/main" name="Texte Seul">
  <a:themeElements>
    <a:clrScheme name="Omeca_color">
      <a:dk1>
        <a:srgbClr val="797978"/>
      </a:dk1>
      <a:lt1>
        <a:srgbClr val="F1F4F6"/>
      </a:lt1>
      <a:dk2>
        <a:srgbClr val="254A96"/>
      </a:dk2>
      <a:lt2>
        <a:srgbClr val="3E3E3C"/>
      </a:lt2>
      <a:accent1>
        <a:srgbClr val="3CB5A1"/>
      </a:accent1>
      <a:accent2>
        <a:srgbClr val="214F6D"/>
      </a:accent2>
      <a:accent3>
        <a:srgbClr val="2699D6"/>
      </a:accent3>
      <a:accent4>
        <a:srgbClr val="18407E"/>
      </a:accent4>
      <a:accent5>
        <a:srgbClr val="F4519B"/>
      </a:accent5>
      <a:accent6>
        <a:srgbClr val="5F246B"/>
      </a:accent6>
      <a:hlink>
        <a:srgbClr val="FFFFFF"/>
      </a:hlink>
      <a:folHlink>
        <a:srgbClr val="FFFFFF"/>
      </a:folHlink>
    </a:clrScheme>
    <a:fontScheme name="Custom 4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b="1" dirty="0">
            <a:solidFill>
              <a:schemeClr val="bg2"/>
            </a:solidFill>
            <a:latin typeface="+mj-lt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>
        <a:noAutofit/>
      </a:bodyPr>
      <a:lstStyle>
        <a:defPPr algn="l">
          <a:defRPr dirty="0" smtClean="0"/>
        </a:defPPr>
      </a:lstStyle>
    </a:txDef>
  </a:objectDefaults>
  <a:extraClrSchemeLst/>
  <a:custClrLst>
    <a:custClr name="Custom Color 1">
      <a:srgbClr val="9E61A4"/>
    </a:custClr>
    <a:custClr name="Custom Color 2">
      <a:srgbClr val="642583"/>
    </a:custClr>
    <a:custClr name="Custom Color 3">
      <a:srgbClr val="EA516D"/>
    </a:custClr>
    <a:custClr name="Custom Color 4">
      <a:srgbClr val="C70E6B"/>
    </a:custClr>
    <a:custClr name="Custom Color 5">
      <a:srgbClr val="F07E26"/>
    </a:custClr>
    <a:custClr name="Custom Color 6">
      <a:srgbClr val="E6332A"/>
    </a:custClr>
    <a:custClr name="Custom Color 7">
      <a:srgbClr val="FDC41F"/>
    </a:custClr>
    <a:custClr name="Custom Color 8">
      <a:srgbClr val="DA8C0C"/>
    </a:custClr>
    <a:custClr name="Custom Color 9">
      <a:srgbClr val="94C356"/>
    </a:custClr>
    <a:custClr name="Custom Color 10">
      <a:srgbClr val="00A870"/>
    </a:custClr>
    <a:custClr name="Custom Color 11">
      <a:srgbClr val="5FC4E1"/>
    </a:custClr>
    <a:custClr name="Custom Color 12">
      <a:srgbClr val="5488C7"/>
    </a:custClr>
    <a:custClr name="Custom Color 13">
      <a:srgbClr val="FFFFFF"/>
    </a:custClr>
  </a:custClrLst>
  <a:extLst>
    <a:ext uri="{05A4C25C-085E-4340-85A3-A5531E510DB2}">
      <thm15:themeFamily xmlns:thm15="http://schemas.microsoft.com/office/thememl/2012/main" name="OMECA-LESESSENTIELS_Pokeslide_V0.2" id="{F0E4C06A-7EDE-40EB-94B6-1DEC2979D06E}" vid="{6C571A2F-981F-4B66-864A-6BA1D1C0E1DE}"/>
    </a:ext>
  </a:extLst>
</a:theme>
</file>

<file path=ppt/theme/theme4.xml><?xml version="1.0" encoding="utf-8"?>
<a:theme xmlns:a="http://schemas.openxmlformats.org/drawingml/2006/main" name="Graph">
  <a:themeElements>
    <a:clrScheme name="Omeca_color">
      <a:dk1>
        <a:srgbClr val="797978"/>
      </a:dk1>
      <a:lt1>
        <a:srgbClr val="F1F4F6"/>
      </a:lt1>
      <a:dk2>
        <a:srgbClr val="254A96"/>
      </a:dk2>
      <a:lt2>
        <a:srgbClr val="3E3E3C"/>
      </a:lt2>
      <a:accent1>
        <a:srgbClr val="3CB5A1"/>
      </a:accent1>
      <a:accent2>
        <a:srgbClr val="214F6D"/>
      </a:accent2>
      <a:accent3>
        <a:srgbClr val="2699D6"/>
      </a:accent3>
      <a:accent4>
        <a:srgbClr val="18407E"/>
      </a:accent4>
      <a:accent5>
        <a:srgbClr val="F4519B"/>
      </a:accent5>
      <a:accent6>
        <a:srgbClr val="5F246B"/>
      </a:accent6>
      <a:hlink>
        <a:srgbClr val="FFFFFF"/>
      </a:hlink>
      <a:folHlink>
        <a:srgbClr val="FFFFFF"/>
      </a:folHlink>
    </a:clrScheme>
    <a:fontScheme name="Custom 4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b="1" dirty="0">
            <a:solidFill>
              <a:schemeClr val="bg2"/>
            </a:solidFill>
            <a:latin typeface="+mj-lt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>
        <a:noAutofit/>
      </a:bodyPr>
      <a:lstStyle>
        <a:defPPr algn="l">
          <a:defRPr dirty="0" smtClean="0"/>
        </a:defPPr>
      </a:lstStyle>
    </a:txDef>
  </a:objectDefaults>
  <a:extraClrSchemeLst/>
  <a:custClrLst>
    <a:custClr name="Custom Color 1">
      <a:srgbClr val="9E61A4"/>
    </a:custClr>
    <a:custClr name="Custom Color 2">
      <a:srgbClr val="642583"/>
    </a:custClr>
    <a:custClr name="Custom Color 3">
      <a:srgbClr val="EA516D"/>
    </a:custClr>
    <a:custClr name="Custom Color 4">
      <a:srgbClr val="C70E6B"/>
    </a:custClr>
    <a:custClr name="Custom Color 5">
      <a:srgbClr val="F07E26"/>
    </a:custClr>
    <a:custClr name="Custom Color 6">
      <a:srgbClr val="E6332A"/>
    </a:custClr>
    <a:custClr name="Custom Color 7">
      <a:srgbClr val="FDC41F"/>
    </a:custClr>
    <a:custClr name="Custom Color 8">
      <a:srgbClr val="DA8C0C"/>
    </a:custClr>
    <a:custClr name="Custom Color 9">
      <a:srgbClr val="94C356"/>
    </a:custClr>
    <a:custClr name="Custom Color 10">
      <a:srgbClr val="00A870"/>
    </a:custClr>
    <a:custClr name="Custom Color 11">
      <a:srgbClr val="5FC4E1"/>
    </a:custClr>
    <a:custClr name="Custom Color 12">
      <a:srgbClr val="5488C7"/>
    </a:custClr>
    <a:custClr name="Custom Color 13">
      <a:srgbClr val="FFFFFF"/>
    </a:custClr>
  </a:custClrLst>
  <a:extLst>
    <a:ext uri="{05A4C25C-085E-4340-85A3-A5531E510DB2}">
      <thm15:themeFamily xmlns:thm15="http://schemas.microsoft.com/office/thememl/2012/main" name="OMECA-LESESSENTIELS_Pokeslide_V0.2" id="{F0E4C06A-7EDE-40EB-94B6-1DEC2979D06E}" vid="{B3A62645-A974-4CF9-927A-FE5644CB9871}"/>
    </a:ext>
  </a:extLst>
</a:theme>
</file>

<file path=ppt/theme/theme5.xml><?xml version="1.0" encoding="utf-8"?>
<a:theme xmlns:a="http://schemas.openxmlformats.org/drawingml/2006/main" name="Merci">
  <a:themeElements>
    <a:clrScheme name="Omeca_color">
      <a:dk1>
        <a:srgbClr val="797978"/>
      </a:dk1>
      <a:lt1>
        <a:srgbClr val="F1F4F6"/>
      </a:lt1>
      <a:dk2>
        <a:srgbClr val="254A96"/>
      </a:dk2>
      <a:lt2>
        <a:srgbClr val="3E3E3C"/>
      </a:lt2>
      <a:accent1>
        <a:srgbClr val="3CB5A1"/>
      </a:accent1>
      <a:accent2>
        <a:srgbClr val="214F6D"/>
      </a:accent2>
      <a:accent3>
        <a:srgbClr val="2699D6"/>
      </a:accent3>
      <a:accent4>
        <a:srgbClr val="18407E"/>
      </a:accent4>
      <a:accent5>
        <a:srgbClr val="F4519B"/>
      </a:accent5>
      <a:accent6>
        <a:srgbClr val="5F246B"/>
      </a:accent6>
      <a:hlink>
        <a:srgbClr val="FFFFFF"/>
      </a:hlink>
      <a:folHlink>
        <a:srgbClr val="FFFFFF"/>
      </a:folHlink>
    </a:clrScheme>
    <a:fontScheme name="Custom 4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b="1" dirty="0">
            <a:solidFill>
              <a:schemeClr val="bg2"/>
            </a:solidFill>
            <a:latin typeface="+mj-lt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>
        <a:noAutofit/>
      </a:bodyPr>
      <a:lstStyle>
        <a:defPPr algn="l">
          <a:defRPr dirty="0" smtClean="0"/>
        </a:defPPr>
      </a:lstStyle>
    </a:txDef>
  </a:objectDefaults>
  <a:extraClrSchemeLst/>
  <a:custClrLst>
    <a:custClr name="Custom Color 1">
      <a:srgbClr val="9E61A4"/>
    </a:custClr>
    <a:custClr name="Custom Color 2">
      <a:srgbClr val="642583"/>
    </a:custClr>
    <a:custClr name="Custom Color 3">
      <a:srgbClr val="EA516D"/>
    </a:custClr>
    <a:custClr name="Custom Color 4">
      <a:srgbClr val="C70E6B"/>
    </a:custClr>
    <a:custClr name="Custom Color 5">
      <a:srgbClr val="F07E26"/>
    </a:custClr>
    <a:custClr name="Custom Color 6">
      <a:srgbClr val="E6332A"/>
    </a:custClr>
    <a:custClr name="Custom Color 7">
      <a:srgbClr val="FDC41F"/>
    </a:custClr>
    <a:custClr name="Custom Color 8">
      <a:srgbClr val="DA8C0C"/>
    </a:custClr>
    <a:custClr name="Custom Color 9">
      <a:srgbClr val="94C356"/>
    </a:custClr>
    <a:custClr name="Custom Color 10">
      <a:srgbClr val="00A870"/>
    </a:custClr>
    <a:custClr name="Custom Color 11">
      <a:srgbClr val="5FC4E1"/>
    </a:custClr>
    <a:custClr name="Custom Color 12">
      <a:srgbClr val="5488C7"/>
    </a:custClr>
    <a:custClr name="Custom Color 13">
      <a:srgbClr val="FFFFFF"/>
    </a:custClr>
  </a:custClrLst>
  <a:extLst>
    <a:ext uri="{05A4C25C-085E-4340-85A3-A5531E510DB2}">
      <thm15:themeFamily xmlns:thm15="http://schemas.microsoft.com/office/thememl/2012/main" name="OMECA-LESESSENTIELS_Pokeslide_V0.2" id="{F0E4C06A-7EDE-40EB-94B6-1DEC2979D06E}" vid="{85C4E382-5FD3-4759-A8E2-10AA02CA3FDE}"/>
    </a:ext>
  </a:extLst>
</a:theme>
</file>

<file path=ppt/theme/theme6.xml><?xml version="1.0" encoding="utf-8"?>
<a:theme xmlns:a="http://schemas.openxmlformats.org/drawingml/2006/main" name="Vide">
  <a:themeElements>
    <a:clrScheme name="Omeca_color">
      <a:dk1>
        <a:srgbClr val="797978"/>
      </a:dk1>
      <a:lt1>
        <a:srgbClr val="F1F4F6"/>
      </a:lt1>
      <a:dk2>
        <a:srgbClr val="254A96"/>
      </a:dk2>
      <a:lt2>
        <a:srgbClr val="3E3E3C"/>
      </a:lt2>
      <a:accent1>
        <a:srgbClr val="3CB5A1"/>
      </a:accent1>
      <a:accent2>
        <a:srgbClr val="214F6D"/>
      </a:accent2>
      <a:accent3>
        <a:srgbClr val="2699D6"/>
      </a:accent3>
      <a:accent4>
        <a:srgbClr val="18407E"/>
      </a:accent4>
      <a:accent5>
        <a:srgbClr val="F4519B"/>
      </a:accent5>
      <a:accent6>
        <a:srgbClr val="5F246B"/>
      </a:accent6>
      <a:hlink>
        <a:srgbClr val="FFFFFF"/>
      </a:hlink>
      <a:folHlink>
        <a:srgbClr val="FFFFFF"/>
      </a:folHlink>
    </a:clrScheme>
    <a:fontScheme name="Custom 4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b="1" dirty="0">
            <a:solidFill>
              <a:schemeClr val="bg2"/>
            </a:solidFill>
            <a:latin typeface="+mj-lt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>
        <a:noAutofit/>
      </a:bodyPr>
      <a:lstStyle>
        <a:defPPr algn="l">
          <a:defRPr dirty="0" smtClean="0"/>
        </a:defPPr>
      </a:lstStyle>
    </a:txDef>
  </a:objectDefaults>
  <a:extraClrSchemeLst/>
  <a:custClrLst>
    <a:custClr name="Custom Color 1">
      <a:srgbClr val="9E61A4"/>
    </a:custClr>
    <a:custClr name="Custom Color 2">
      <a:srgbClr val="642583"/>
    </a:custClr>
    <a:custClr name="Custom Color 3">
      <a:srgbClr val="EA516D"/>
    </a:custClr>
    <a:custClr name="Custom Color 4">
      <a:srgbClr val="C70E6B"/>
    </a:custClr>
    <a:custClr name="Custom Color 5">
      <a:srgbClr val="F07E26"/>
    </a:custClr>
    <a:custClr name="Custom Color 6">
      <a:srgbClr val="E6332A"/>
    </a:custClr>
    <a:custClr name="Custom Color 7">
      <a:srgbClr val="FDC41F"/>
    </a:custClr>
    <a:custClr name="Custom Color 8">
      <a:srgbClr val="DA8C0C"/>
    </a:custClr>
    <a:custClr name="Custom Color 9">
      <a:srgbClr val="94C356"/>
    </a:custClr>
    <a:custClr name="Custom Color 10">
      <a:srgbClr val="00A870"/>
    </a:custClr>
    <a:custClr name="Custom Color 11">
      <a:srgbClr val="5FC4E1"/>
    </a:custClr>
    <a:custClr name="Custom Color 12">
      <a:srgbClr val="5488C7"/>
    </a:custClr>
    <a:custClr name="Custom Color 13">
      <a:srgbClr val="FFFFFF"/>
    </a:custClr>
  </a:custClrLst>
  <a:extLst>
    <a:ext uri="{05A4C25C-085E-4340-85A3-A5531E510DB2}">
      <thm15:themeFamily xmlns:thm15="http://schemas.microsoft.com/office/thememl/2012/main" name="OMECA-LESESSENTIELS_Pokeslide_V0.2" id="{F0E4C06A-7EDE-40EB-94B6-1DEC2979D06E}" vid="{62D6C0AF-83C7-4A78-96B4-B1DA6F108EF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MECA-LESESSENTIELS_Pokeslide_V1</Template>
  <TotalTime>4</TotalTime>
  <Words>1744</Words>
  <Application>Microsoft Office PowerPoint</Application>
  <PresentationFormat>Personnalisé</PresentationFormat>
  <Paragraphs>256</Paragraphs>
  <Slides>12</Slides>
  <Notes>1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4" baseType="lpstr">
      <vt:lpstr>Arial</vt:lpstr>
      <vt:lpstr>Montserrat ExtraLight</vt:lpstr>
      <vt:lpstr>Calibri</vt:lpstr>
      <vt:lpstr>Montserrat</vt:lpstr>
      <vt:lpstr>Courier New</vt:lpstr>
      <vt:lpstr>Couverture</vt:lpstr>
      <vt:lpstr>Sommaire</vt:lpstr>
      <vt:lpstr>Texte Seul</vt:lpstr>
      <vt:lpstr>Graph</vt:lpstr>
      <vt:lpstr>Merci</vt:lpstr>
      <vt:lpstr>Vide</vt:lpstr>
      <vt:lpstr>think-cell Slide</vt:lpstr>
      <vt:lpstr>Présentation PowerPoint</vt:lpstr>
      <vt:lpstr>Titre l’abrégé ligne 1 Titre l’abrégé ligne 2 Titre l’abrégé ligne 3</vt:lpstr>
      <vt:lpstr>Sommaire</vt:lpstr>
      <vt:lpstr>Ceci est le titre  de la diapositive sur 2 lignes</vt:lpstr>
      <vt:lpstr>Titre de la question 1 ?</vt:lpstr>
      <vt:lpstr>Titre de la question 2 ?</vt:lpstr>
      <vt:lpstr>Titre de la question 3 ?</vt:lpstr>
      <vt:lpstr>Ceci est le titre  de la diapositive sur 2 lignes</vt:lpstr>
      <vt:lpstr>Ceci est le titre  de la diapositive sur 2 lignes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MARA Hawa</dc:creator>
  <cp:lastModifiedBy>CAMARA Hawa</cp:lastModifiedBy>
  <cp:revision>1</cp:revision>
  <dcterms:created xsi:type="dcterms:W3CDTF">2024-01-19T15:50:06Z</dcterms:created>
  <dcterms:modified xsi:type="dcterms:W3CDTF">2024-01-19T15:54:14Z</dcterms:modified>
</cp:coreProperties>
</file>